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476" r:id="rId5"/>
    <p:sldMasterId id="2147484484" r:id="rId6"/>
    <p:sldMasterId id="2147484508" r:id="rId7"/>
  </p:sldMasterIdLst>
  <p:notesMasterIdLst>
    <p:notesMasterId r:id="rId46"/>
  </p:notesMasterIdLst>
  <p:handoutMasterIdLst>
    <p:handoutMasterId r:id="rId47"/>
  </p:handoutMasterIdLst>
  <p:sldIdLst>
    <p:sldId id="1485" r:id="rId8"/>
    <p:sldId id="1519" r:id="rId9"/>
    <p:sldId id="1549" r:id="rId10"/>
    <p:sldId id="1553" r:id="rId11"/>
    <p:sldId id="1554" r:id="rId12"/>
    <p:sldId id="1555" r:id="rId13"/>
    <p:sldId id="1556" r:id="rId14"/>
    <p:sldId id="1557" r:id="rId15"/>
    <p:sldId id="1558" r:id="rId16"/>
    <p:sldId id="1559" r:id="rId17"/>
    <p:sldId id="1560" r:id="rId18"/>
    <p:sldId id="1561" r:id="rId19"/>
    <p:sldId id="1562" r:id="rId20"/>
    <p:sldId id="1590" r:id="rId21"/>
    <p:sldId id="1564" r:id="rId22"/>
    <p:sldId id="1565" r:id="rId23"/>
    <p:sldId id="1591" r:id="rId24"/>
    <p:sldId id="1567" r:id="rId25"/>
    <p:sldId id="1568" r:id="rId26"/>
    <p:sldId id="1569" r:id="rId27"/>
    <p:sldId id="1570" r:id="rId28"/>
    <p:sldId id="1593" r:id="rId29"/>
    <p:sldId id="1592" r:id="rId30"/>
    <p:sldId id="1572" r:id="rId31"/>
    <p:sldId id="1594" r:id="rId32"/>
    <p:sldId id="1576" r:id="rId33"/>
    <p:sldId id="1577" r:id="rId34"/>
    <p:sldId id="1578" r:id="rId35"/>
    <p:sldId id="1579" r:id="rId36"/>
    <p:sldId id="1595" r:id="rId37"/>
    <p:sldId id="1581" r:id="rId38"/>
    <p:sldId id="1582" r:id="rId39"/>
    <p:sldId id="1583" r:id="rId40"/>
    <p:sldId id="1584" r:id="rId41"/>
    <p:sldId id="1585" r:id="rId42"/>
    <p:sldId id="1587" r:id="rId43"/>
    <p:sldId id="1596" r:id="rId44"/>
    <p:sldId id="1589" r:id="rId4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I Immersion Workshop Template" id="{A073DAE3-B461-442F-A3D3-6642BD875E45}">
          <p14:sldIdLst>
            <p14:sldId id="1485"/>
            <p14:sldId id="1519"/>
            <p14:sldId id="1549"/>
            <p14:sldId id="1553"/>
            <p14:sldId id="1554"/>
            <p14:sldId id="1555"/>
            <p14:sldId id="1556"/>
            <p14:sldId id="1557"/>
            <p14:sldId id="1558"/>
            <p14:sldId id="1559"/>
            <p14:sldId id="1560"/>
            <p14:sldId id="1561"/>
            <p14:sldId id="1562"/>
            <p14:sldId id="1590"/>
            <p14:sldId id="1564"/>
            <p14:sldId id="1565"/>
            <p14:sldId id="1591"/>
            <p14:sldId id="1567"/>
            <p14:sldId id="1568"/>
            <p14:sldId id="1569"/>
            <p14:sldId id="1570"/>
            <p14:sldId id="1593"/>
            <p14:sldId id="1592"/>
            <p14:sldId id="1572"/>
            <p14:sldId id="1594"/>
            <p14:sldId id="1576"/>
            <p14:sldId id="1577"/>
            <p14:sldId id="1578"/>
            <p14:sldId id="1579"/>
            <p14:sldId id="1595"/>
            <p14:sldId id="1581"/>
            <p14:sldId id="1582"/>
            <p14:sldId id="1583"/>
            <p14:sldId id="1584"/>
            <p14:sldId id="1585"/>
            <p14:sldId id="1587"/>
            <p14:sldId id="1596"/>
            <p14:sldId id="158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78D7"/>
    <a:srgbClr val="000000"/>
    <a:srgbClr val="FF8C00"/>
    <a:srgbClr val="D83B01"/>
    <a:srgbClr val="FFB900"/>
    <a:srgbClr val="107C10"/>
    <a:srgbClr val="353535"/>
    <a:srgbClr val="FF5050"/>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92" autoAdjust="0"/>
    <p:restoredTop sz="57860" autoAdjust="0"/>
  </p:normalViewPr>
  <p:slideViewPr>
    <p:cSldViewPr>
      <p:cViewPr varScale="1">
        <p:scale>
          <a:sx n="54" d="100"/>
          <a:sy n="54" d="100"/>
        </p:scale>
        <p:origin x="884" y="48"/>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2102"/>
    </p:cViewPr>
  </p:sorterViewPr>
  <p:notesViewPr>
    <p:cSldViewPr showGuides="1">
      <p:cViewPr varScale="1">
        <p:scale>
          <a:sx n="81" d="100"/>
          <a:sy n="81" d="100"/>
        </p:scale>
        <p:origin x="2826"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commentAuthors" Target="commentAuthors.xml"/><Relationship Id="rId8" Type="http://schemas.openxmlformats.org/officeDocument/2006/relationships/slide" Target="slides/slide1.xml"/><Relationship Id="rId5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157F88B-D36F-437E-8BBD-995A4D9A7B22}" type="doc">
      <dgm:prSet loTypeId="urn:microsoft.com/office/officeart/2005/8/layout/default" loCatId="list" qsTypeId="urn:microsoft.com/office/officeart/2005/8/quickstyle/simple5" qsCatId="simple" csTypeId="urn:microsoft.com/office/officeart/2005/8/colors/accent2_2" csCatId="accent2"/>
      <dgm:spPr/>
      <dgm:t>
        <a:bodyPr/>
        <a:lstStyle/>
        <a:p>
          <a:endParaRPr lang="en-US"/>
        </a:p>
      </dgm:t>
    </dgm:pt>
    <dgm:pt modelId="{79383DCD-BCE4-4434-9FBA-F2A05FAF1C82}">
      <dgm:prSet/>
      <dgm:spPr/>
      <dgm:t>
        <a:bodyPr/>
        <a:lstStyle/>
        <a:p>
          <a:pPr rtl="0"/>
          <a:r>
            <a:rPr lang="en-US" baseline="0"/>
            <a:t>Emotion detection at retail displays</a:t>
          </a:r>
          <a:endParaRPr lang="en-US"/>
        </a:p>
      </dgm:t>
    </dgm:pt>
    <dgm:pt modelId="{D58D0805-55F1-439F-9041-049AA8D73074}" type="parTrans" cxnId="{05237B5E-2AB4-41B1-9763-AE599BF698BA}">
      <dgm:prSet/>
      <dgm:spPr/>
      <dgm:t>
        <a:bodyPr/>
        <a:lstStyle/>
        <a:p>
          <a:endParaRPr lang="en-US"/>
        </a:p>
      </dgm:t>
    </dgm:pt>
    <dgm:pt modelId="{6693F6B2-1EA0-4275-A546-30F752DA9369}" type="sibTrans" cxnId="{05237B5E-2AB4-41B1-9763-AE599BF698BA}">
      <dgm:prSet/>
      <dgm:spPr/>
      <dgm:t>
        <a:bodyPr/>
        <a:lstStyle/>
        <a:p>
          <a:endParaRPr lang="en-US"/>
        </a:p>
      </dgm:t>
    </dgm:pt>
    <dgm:pt modelId="{80EBED73-750B-4130-A704-5FDF50019FEA}">
      <dgm:prSet/>
      <dgm:spPr/>
      <dgm:t>
        <a:bodyPr/>
        <a:lstStyle/>
        <a:p>
          <a:pPr rtl="0"/>
          <a:r>
            <a:rPr lang="en-US" baseline="0"/>
            <a:t>Facial identification to find missing children</a:t>
          </a:r>
          <a:endParaRPr lang="en-US"/>
        </a:p>
      </dgm:t>
    </dgm:pt>
    <dgm:pt modelId="{59C5D016-7CE8-47CD-9608-3C5A2B8AC008}" type="parTrans" cxnId="{2CA49CBE-F618-4E4A-BE2D-B8DCB5091690}">
      <dgm:prSet/>
      <dgm:spPr/>
      <dgm:t>
        <a:bodyPr/>
        <a:lstStyle/>
        <a:p>
          <a:endParaRPr lang="en-US"/>
        </a:p>
      </dgm:t>
    </dgm:pt>
    <dgm:pt modelId="{9C7C9D22-82C6-492B-B271-92A699CA34CD}" type="sibTrans" cxnId="{2CA49CBE-F618-4E4A-BE2D-B8DCB5091690}">
      <dgm:prSet/>
      <dgm:spPr/>
      <dgm:t>
        <a:bodyPr/>
        <a:lstStyle/>
        <a:p>
          <a:endParaRPr lang="en-US"/>
        </a:p>
      </dgm:t>
    </dgm:pt>
    <dgm:pt modelId="{21490DBC-F5C6-4111-A7E1-813C6521C631}">
      <dgm:prSet/>
      <dgm:spPr/>
      <dgm:t>
        <a:bodyPr/>
        <a:lstStyle/>
        <a:p>
          <a:pPr rtl="0"/>
          <a:r>
            <a:rPr lang="en-US" baseline="0"/>
            <a:t>Sentiment analysis to learn how customers feel</a:t>
          </a:r>
          <a:endParaRPr lang="en-US"/>
        </a:p>
      </dgm:t>
    </dgm:pt>
    <dgm:pt modelId="{08CB97E1-9E49-4414-A6E3-E4C831BA5390}" type="parTrans" cxnId="{A96E00A0-3DCE-431D-AFB8-BB858F511A66}">
      <dgm:prSet/>
      <dgm:spPr/>
      <dgm:t>
        <a:bodyPr/>
        <a:lstStyle/>
        <a:p>
          <a:endParaRPr lang="en-US"/>
        </a:p>
      </dgm:t>
    </dgm:pt>
    <dgm:pt modelId="{39817D1A-5790-4CAA-9401-DD3AF0418DBF}" type="sibTrans" cxnId="{A96E00A0-3DCE-431D-AFB8-BB858F511A66}">
      <dgm:prSet/>
      <dgm:spPr/>
      <dgm:t>
        <a:bodyPr/>
        <a:lstStyle/>
        <a:p>
          <a:endParaRPr lang="en-US"/>
        </a:p>
      </dgm:t>
    </dgm:pt>
    <dgm:pt modelId="{F5B46F0B-1E65-4E3F-A41F-F5F70D56E274}">
      <dgm:prSet/>
      <dgm:spPr/>
      <dgm:t>
        <a:bodyPr/>
        <a:lstStyle/>
        <a:p>
          <a:pPr rtl="0"/>
          <a:r>
            <a:rPr lang="en-US" baseline="0" dirty="0"/>
            <a:t>Facial detection to calculate the male/female ratio at a nightclub</a:t>
          </a:r>
          <a:endParaRPr lang="en-US" dirty="0"/>
        </a:p>
      </dgm:t>
    </dgm:pt>
    <dgm:pt modelId="{2A7C9BF2-53C4-49E8-ADAD-FF7FE0F30B9F}" type="parTrans" cxnId="{49D56FD3-F6DD-4197-A402-A406B0558DE2}">
      <dgm:prSet/>
      <dgm:spPr/>
      <dgm:t>
        <a:bodyPr/>
        <a:lstStyle/>
        <a:p>
          <a:endParaRPr lang="en-US"/>
        </a:p>
      </dgm:t>
    </dgm:pt>
    <dgm:pt modelId="{2EA99E30-1731-460B-BA1D-71117ED5791B}" type="sibTrans" cxnId="{49D56FD3-F6DD-4197-A402-A406B0558DE2}">
      <dgm:prSet/>
      <dgm:spPr/>
      <dgm:t>
        <a:bodyPr/>
        <a:lstStyle/>
        <a:p>
          <a:endParaRPr lang="en-US"/>
        </a:p>
      </dgm:t>
    </dgm:pt>
    <dgm:pt modelId="{AF49BEE9-D0F0-426D-ABDB-2722129098A7}">
      <dgm:prSet/>
      <dgm:spPr/>
      <dgm:t>
        <a:bodyPr/>
        <a:lstStyle/>
        <a:p>
          <a:pPr rtl="0"/>
          <a:r>
            <a:rPr lang="en-US" baseline="0"/>
            <a:t>Language understanding to allow automated support bots to understand natural language</a:t>
          </a:r>
          <a:endParaRPr lang="en-US"/>
        </a:p>
      </dgm:t>
    </dgm:pt>
    <dgm:pt modelId="{577F834A-79D7-41F6-BF7B-C4AEA9EFDC7C}" type="parTrans" cxnId="{123922A4-F478-4304-BAF4-2C2D52EB02AB}">
      <dgm:prSet/>
      <dgm:spPr/>
      <dgm:t>
        <a:bodyPr/>
        <a:lstStyle/>
        <a:p>
          <a:endParaRPr lang="en-US"/>
        </a:p>
      </dgm:t>
    </dgm:pt>
    <dgm:pt modelId="{66673B13-5C2C-44FE-BA07-19FABA4EE26E}" type="sibTrans" cxnId="{123922A4-F478-4304-BAF4-2C2D52EB02AB}">
      <dgm:prSet/>
      <dgm:spPr/>
      <dgm:t>
        <a:bodyPr/>
        <a:lstStyle/>
        <a:p>
          <a:endParaRPr lang="en-US"/>
        </a:p>
      </dgm:t>
    </dgm:pt>
    <dgm:pt modelId="{77244746-B59B-4EAB-B5EB-11F254D97695}">
      <dgm:prSet/>
      <dgm:spPr/>
      <dgm:t>
        <a:bodyPr/>
        <a:lstStyle/>
        <a:p>
          <a:pPr rtl="0"/>
          <a:r>
            <a:rPr lang="en-US" baseline="0"/>
            <a:t>Object recognition to enable a blind person to read a menu</a:t>
          </a:r>
          <a:endParaRPr lang="en-US"/>
        </a:p>
      </dgm:t>
    </dgm:pt>
    <dgm:pt modelId="{4CB83BBB-2EA5-470C-AE56-81F9B0E656E2}" type="parTrans" cxnId="{62356FEB-5D8A-47DE-A805-5624823AF3E7}">
      <dgm:prSet/>
      <dgm:spPr/>
      <dgm:t>
        <a:bodyPr/>
        <a:lstStyle/>
        <a:p>
          <a:endParaRPr lang="en-US"/>
        </a:p>
      </dgm:t>
    </dgm:pt>
    <dgm:pt modelId="{A0BB60F0-9643-46FD-AB9C-075AD57FA9AB}" type="sibTrans" cxnId="{62356FEB-5D8A-47DE-A805-5624823AF3E7}">
      <dgm:prSet/>
      <dgm:spPr/>
      <dgm:t>
        <a:bodyPr/>
        <a:lstStyle/>
        <a:p>
          <a:endParaRPr lang="en-US"/>
        </a:p>
      </dgm:t>
    </dgm:pt>
    <dgm:pt modelId="{1AC61994-FDD3-4397-A410-3B9BDF1137A5}" type="pres">
      <dgm:prSet presAssocID="{5157F88B-D36F-437E-8BBD-995A4D9A7B22}" presName="diagram" presStyleCnt="0">
        <dgm:presLayoutVars>
          <dgm:dir/>
          <dgm:resizeHandles val="exact"/>
        </dgm:presLayoutVars>
      </dgm:prSet>
      <dgm:spPr/>
    </dgm:pt>
    <dgm:pt modelId="{2923D748-61E6-49AF-9D92-0048112D696B}" type="pres">
      <dgm:prSet presAssocID="{79383DCD-BCE4-4434-9FBA-F2A05FAF1C82}" presName="node" presStyleLbl="node1" presStyleIdx="0" presStyleCnt="6">
        <dgm:presLayoutVars>
          <dgm:bulletEnabled val="1"/>
        </dgm:presLayoutVars>
      </dgm:prSet>
      <dgm:spPr/>
    </dgm:pt>
    <dgm:pt modelId="{1DF1DFB2-8476-4AA1-A7E9-842C8DAC989F}" type="pres">
      <dgm:prSet presAssocID="{6693F6B2-1EA0-4275-A546-30F752DA9369}" presName="sibTrans" presStyleCnt="0"/>
      <dgm:spPr/>
    </dgm:pt>
    <dgm:pt modelId="{C3311BE3-DEBF-4AFF-973C-2607D62BABE8}" type="pres">
      <dgm:prSet presAssocID="{80EBED73-750B-4130-A704-5FDF50019FEA}" presName="node" presStyleLbl="node1" presStyleIdx="1" presStyleCnt="6">
        <dgm:presLayoutVars>
          <dgm:bulletEnabled val="1"/>
        </dgm:presLayoutVars>
      </dgm:prSet>
      <dgm:spPr/>
    </dgm:pt>
    <dgm:pt modelId="{12E78B0E-97F2-4737-AFC4-7B7B822E82B8}" type="pres">
      <dgm:prSet presAssocID="{9C7C9D22-82C6-492B-B271-92A699CA34CD}" presName="sibTrans" presStyleCnt="0"/>
      <dgm:spPr/>
    </dgm:pt>
    <dgm:pt modelId="{9C6F9689-5F6A-4CF8-80D3-623A55ED0832}" type="pres">
      <dgm:prSet presAssocID="{21490DBC-F5C6-4111-A7E1-813C6521C631}" presName="node" presStyleLbl="node1" presStyleIdx="2" presStyleCnt="6">
        <dgm:presLayoutVars>
          <dgm:bulletEnabled val="1"/>
        </dgm:presLayoutVars>
      </dgm:prSet>
      <dgm:spPr/>
    </dgm:pt>
    <dgm:pt modelId="{9F09467B-7558-4338-A654-F48075BBD8BE}" type="pres">
      <dgm:prSet presAssocID="{39817D1A-5790-4CAA-9401-DD3AF0418DBF}" presName="sibTrans" presStyleCnt="0"/>
      <dgm:spPr/>
    </dgm:pt>
    <dgm:pt modelId="{E6781047-74C8-49A9-84A2-65CEF4E4DA20}" type="pres">
      <dgm:prSet presAssocID="{F5B46F0B-1E65-4E3F-A41F-F5F70D56E274}" presName="node" presStyleLbl="node1" presStyleIdx="3" presStyleCnt="6">
        <dgm:presLayoutVars>
          <dgm:bulletEnabled val="1"/>
        </dgm:presLayoutVars>
      </dgm:prSet>
      <dgm:spPr/>
    </dgm:pt>
    <dgm:pt modelId="{DB41C873-D166-4295-A285-DC25706C516B}" type="pres">
      <dgm:prSet presAssocID="{2EA99E30-1731-460B-BA1D-71117ED5791B}" presName="sibTrans" presStyleCnt="0"/>
      <dgm:spPr/>
    </dgm:pt>
    <dgm:pt modelId="{549B1AB0-ADDB-4FD9-8CD6-DA86DFBFEB20}" type="pres">
      <dgm:prSet presAssocID="{AF49BEE9-D0F0-426D-ABDB-2722129098A7}" presName="node" presStyleLbl="node1" presStyleIdx="4" presStyleCnt="6">
        <dgm:presLayoutVars>
          <dgm:bulletEnabled val="1"/>
        </dgm:presLayoutVars>
      </dgm:prSet>
      <dgm:spPr/>
    </dgm:pt>
    <dgm:pt modelId="{D6566B4E-0800-4138-BF45-B4DBDBFBDBB5}" type="pres">
      <dgm:prSet presAssocID="{66673B13-5C2C-44FE-BA07-19FABA4EE26E}" presName="sibTrans" presStyleCnt="0"/>
      <dgm:spPr/>
    </dgm:pt>
    <dgm:pt modelId="{C61261E1-990D-494F-8A5A-09065E198C64}" type="pres">
      <dgm:prSet presAssocID="{77244746-B59B-4EAB-B5EB-11F254D97695}" presName="node" presStyleLbl="node1" presStyleIdx="5" presStyleCnt="6">
        <dgm:presLayoutVars>
          <dgm:bulletEnabled val="1"/>
        </dgm:presLayoutVars>
      </dgm:prSet>
      <dgm:spPr/>
    </dgm:pt>
  </dgm:ptLst>
  <dgm:cxnLst>
    <dgm:cxn modelId="{8C750902-8E93-4771-81EB-88D14A18CB92}" type="presOf" srcId="{77244746-B59B-4EAB-B5EB-11F254D97695}" destId="{C61261E1-990D-494F-8A5A-09065E198C64}" srcOrd="0" destOrd="0" presId="urn:microsoft.com/office/officeart/2005/8/layout/default"/>
    <dgm:cxn modelId="{180FBD25-AAAA-415A-BC95-E976470B8BC3}" type="presOf" srcId="{80EBED73-750B-4130-A704-5FDF50019FEA}" destId="{C3311BE3-DEBF-4AFF-973C-2607D62BABE8}" srcOrd="0" destOrd="0" presId="urn:microsoft.com/office/officeart/2005/8/layout/default"/>
    <dgm:cxn modelId="{05237B5E-2AB4-41B1-9763-AE599BF698BA}" srcId="{5157F88B-D36F-437E-8BBD-995A4D9A7B22}" destId="{79383DCD-BCE4-4434-9FBA-F2A05FAF1C82}" srcOrd="0" destOrd="0" parTransId="{D58D0805-55F1-439F-9041-049AA8D73074}" sibTransId="{6693F6B2-1EA0-4275-A546-30F752DA9369}"/>
    <dgm:cxn modelId="{E8E16481-5405-41B0-853E-8822C6F54BAE}" type="presOf" srcId="{21490DBC-F5C6-4111-A7E1-813C6521C631}" destId="{9C6F9689-5F6A-4CF8-80D3-623A55ED0832}" srcOrd="0" destOrd="0" presId="urn:microsoft.com/office/officeart/2005/8/layout/default"/>
    <dgm:cxn modelId="{A96E00A0-3DCE-431D-AFB8-BB858F511A66}" srcId="{5157F88B-D36F-437E-8BBD-995A4D9A7B22}" destId="{21490DBC-F5C6-4111-A7E1-813C6521C631}" srcOrd="2" destOrd="0" parTransId="{08CB97E1-9E49-4414-A6E3-E4C831BA5390}" sibTransId="{39817D1A-5790-4CAA-9401-DD3AF0418DBF}"/>
    <dgm:cxn modelId="{123922A4-F478-4304-BAF4-2C2D52EB02AB}" srcId="{5157F88B-D36F-437E-8BBD-995A4D9A7B22}" destId="{AF49BEE9-D0F0-426D-ABDB-2722129098A7}" srcOrd="4" destOrd="0" parTransId="{577F834A-79D7-41F6-BF7B-C4AEA9EFDC7C}" sibTransId="{66673B13-5C2C-44FE-BA07-19FABA4EE26E}"/>
    <dgm:cxn modelId="{2CA49CBE-F618-4E4A-BE2D-B8DCB5091690}" srcId="{5157F88B-D36F-437E-8BBD-995A4D9A7B22}" destId="{80EBED73-750B-4130-A704-5FDF50019FEA}" srcOrd="1" destOrd="0" parTransId="{59C5D016-7CE8-47CD-9608-3C5A2B8AC008}" sibTransId="{9C7C9D22-82C6-492B-B271-92A699CA34CD}"/>
    <dgm:cxn modelId="{710BDBCC-29AF-4E95-8F62-8F891C23CC3A}" type="presOf" srcId="{5157F88B-D36F-437E-8BBD-995A4D9A7B22}" destId="{1AC61994-FDD3-4397-A410-3B9BDF1137A5}" srcOrd="0" destOrd="0" presId="urn:microsoft.com/office/officeart/2005/8/layout/default"/>
    <dgm:cxn modelId="{02C184CD-C85F-4A3C-833D-A057E2E89C8C}" type="presOf" srcId="{AF49BEE9-D0F0-426D-ABDB-2722129098A7}" destId="{549B1AB0-ADDB-4FD9-8CD6-DA86DFBFEB20}" srcOrd="0" destOrd="0" presId="urn:microsoft.com/office/officeart/2005/8/layout/default"/>
    <dgm:cxn modelId="{49D56FD3-F6DD-4197-A402-A406B0558DE2}" srcId="{5157F88B-D36F-437E-8BBD-995A4D9A7B22}" destId="{F5B46F0B-1E65-4E3F-A41F-F5F70D56E274}" srcOrd="3" destOrd="0" parTransId="{2A7C9BF2-53C4-49E8-ADAD-FF7FE0F30B9F}" sibTransId="{2EA99E30-1731-460B-BA1D-71117ED5791B}"/>
    <dgm:cxn modelId="{DD68E7DD-86C8-4358-853C-3B78A6B168A4}" type="presOf" srcId="{F5B46F0B-1E65-4E3F-A41F-F5F70D56E274}" destId="{E6781047-74C8-49A9-84A2-65CEF4E4DA20}" srcOrd="0" destOrd="0" presId="urn:microsoft.com/office/officeart/2005/8/layout/default"/>
    <dgm:cxn modelId="{62356FEB-5D8A-47DE-A805-5624823AF3E7}" srcId="{5157F88B-D36F-437E-8BBD-995A4D9A7B22}" destId="{77244746-B59B-4EAB-B5EB-11F254D97695}" srcOrd="5" destOrd="0" parTransId="{4CB83BBB-2EA5-470C-AE56-81F9B0E656E2}" sibTransId="{A0BB60F0-9643-46FD-AB9C-075AD57FA9AB}"/>
    <dgm:cxn modelId="{4A4FD5F8-04E9-49DC-92EC-78089F6879DD}" type="presOf" srcId="{79383DCD-BCE4-4434-9FBA-F2A05FAF1C82}" destId="{2923D748-61E6-49AF-9D92-0048112D696B}" srcOrd="0" destOrd="0" presId="urn:microsoft.com/office/officeart/2005/8/layout/default"/>
    <dgm:cxn modelId="{B2253247-8102-474F-8287-157E88A00966}" type="presParOf" srcId="{1AC61994-FDD3-4397-A410-3B9BDF1137A5}" destId="{2923D748-61E6-49AF-9D92-0048112D696B}" srcOrd="0" destOrd="0" presId="urn:microsoft.com/office/officeart/2005/8/layout/default"/>
    <dgm:cxn modelId="{3CEABF4F-E929-4308-93E2-FF104B00CC29}" type="presParOf" srcId="{1AC61994-FDD3-4397-A410-3B9BDF1137A5}" destId="{1DF1DFB2-8476-4AA1-A7E9-842C8DAC989F}" srcOrd="1" destOrd="0" presId="urn:microsoft.com/office/officeart/2005/8/layout/default"/>
    <dgm:cxn modelId="{3572877E-295B-494C-AC9E-5C512DFACF99}" type="presParOf" srcId="{1AC61994-FDD3-4397-A410-3B9BDF1137A5}" destId="{C3311BE3-DEBF-4AFF-973C-2607D62BABE8}" srcOrd="2" destOrd="0" presId="urn:microsoft.com/office/officeart/2005/8/layout/default"/>
    <dgm:cxn modelId="{9600F079-BF25-47B7-B419-64D92416EB94}" type="presParOf" srcId="{1AC61994-FDD3-4397-A410-3B9BDF1137A5}" destId="{12E78B0E-97F2-4737-AFC4-7B7B822E82B8}" srcOrd="3" destOrd="0" presId="urn:microsoft.com/office/officeart/2005/8/layout/default"/>
    <dgm:cxn modelId="{4F4A8A6C-1FE7-4E55-9744-A4B235A7C8C5}" type="presParOf" srcId="{1AC61994-FDD3-4397-A410-3B9BDF1137A5}" destId="{9C6F9689-5F6A-4CF8-80D3-623A55ED0832}" srcOrd="4" destOrd="0" presId="urn:microsoft.com/office/officeart/2005/8/layout/default"/>
    <dgm:cxn modelId="{9F04C55F-C038-45C1-8FF0-E2F8CB9749F0}" type="presParOf" srcId="{1AC61994-FDD3-4397-A410-3B9BDF1137A5}" destId="{9F09467B-7558-4338-A654-F48075BBD8BE}" srcOrd="5" destOrd="0" presId="urn:microsoft.com/office/officeart/2005/8/layout/default"/>
    <dgm:cxn modelId="{A4CAA751-5480-4238-BA8B-6996A6EC3851}" type="presParOf" srcId="{1AC61994-FDD3-4397-A410-3B9BDF1137A5}" destId="{E6781047-74C8-49A9-84A2-65CEF4E4DA20}" srcOrd="6" destOrd="0" presId="urn:microsoft.com/office/officeart/2005/8/layout/default"/>
    <dgm:cxn modelId="{D10AF132-52F3-4F4D-BFF3-72E9F251E5C2}" type="presParOf" srcId="{1AC61994-FDD3-4397-A410-3B9BDF1137A5}" destId="{DB41C873-D166-4295-A285-DC25706C516B}" srcOrd="7" destOrd="0" presId="urn:microsoft.com/office/officeart/2005/8/layout/default"/>
    <dgm:cxn modelId="{ACC998F3-F5D9-4B8D-A8E5-C41FFC7BA5D7}" type="presParOf" srcId="{1AC61994-FDD3-4397-A410-3B9BDF1137A5}" destId="{549B1AB0-ADDB-4FD9-8CD6-DA86DFBFEB20}" srcOrd="8" destOrd="0" presId="urn:microsoft.com/office/officeart/2005/8/layout/default"/>
    <dgm:cxn modelId="{3B374BD6-EC85-442D-9EB1-C45F08F442AA}" type="presParOf" srcId="{1AC61994-FDD3-4397-A410-3B9BDF1137A5}" destId="{D6566B4E-0800-4138-BF45-B4DBDBFBDBB5}" srcOrd="9" destOrd="0" presId="urn:microsoft.com/office/officeart/2005/8/layout/default"/>
    <dgm:cxn modelId="{A1F90096-0B8A-438E-AF55-3297D3570F8A}" type="presParOf" srcId="{1AC61994-FDD3-4397-A410-3B9BDF1137A5}" destId="{C61261E1-990D-494F-8A5A-09065E198C64}"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23D748-61E6-49AF-9D92-0048112D696B}">
      <dsp:nvSpPr>
        <dsp:cNvPr id="0" name=""/>
        <dsp:cNvSpPr/>
      </dsp:nvSpPr>
      <dsp:spPr>
        <a:xfrm>
          <a:off x="0" y="478512"/>
          <a:ext cx="3714749" cy="2228849"/>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baseline="0"/>
            <a:t>Emotion detection at retail displays</a:t>
          </a:r>
          <a:endParaRPr lang="en-US" sz="2600" kern="1200"/>
        </a:p>
      </dsp:txBody>
      <dsp:txXfrm>
        <a:off x="0" y="478512"/>
        <a:ext cx="3714749" cy="2228849"/>
      </dsp:txXfrm>
    </dsp:sp>
    <dsp:sp modelId="{C3311BE3-DEBF-4AFF-973C-2607D62BABE8}">
      <dsp:nvSpPr>
        <dsp:cNvPr id="0" name=""/>
        <dsp:cNvSpPr/>
      </dsp:nvSpPr>
      <dsp:spPr>
        <a:xfrm>
          <a:off x="4086225" y="478512"/>
          <a:ext cx="3714749" cy="2228849"/>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baseline="0"/>
            <a:t>Facial identification to find missing children</a:t>
          </a:r>
          <a:endParaRPr lang="en-US" sz="2600" kern="1200"/>
        </a:p>
      </dsp:txBody>
      <dsp:txXfrm>
        <a:off x="4086225" y="478512"/>
        <a:ext cx="3714749" cy="2228849"/>
      </dsp:txXfrm>
    </dsp:sp>
    <dsp:sp modelId="{9C6F9689-5F6A-4CF8-80D3-623A55ED0832}">
      <dsp:nvSpPr>
        <dsp:cNvPr id="0" name=""/>
        <dsp:cNvSpPr/>
      </dsp:nvSpPr>
      <dsp:spPr>
        <a:xfrm>
          <a:off x="8172449" y="478512"/>
          <a:ext cx="3714749" cy="2228849"/>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baseline="0"/>
            <a:t>Sentiment analysis to learn how customers feel</a:t>
          </a:r>
          <a:endParaRPr lang="en-US" sz="2600" kern="1200"/>
        </a:p>
      </dsp:txBody>
      <dsp:txXfrm>
        <a:off x="8172449" y="478512"/>
        <a:ext cx="3714749" cy="2228849"/>
      </dsp:txXfrm>
    </dsp:sp>
    <dsp:sp modelId="{E6781047-74C8-49A9-84A2-65CEF4E4DA20}">
      <dsp:nvSpPr>
        <dsp:cNvPr id="0" name=""/>
        <dsp:cNvSpPr/>
      </dsp:nvSpPr>
      <dsp:spPr>
        <a:xfrm>
          <a:off x="0" y="3078837"/>
          <a:ext cx="3714749" cy="2228849"/>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baseline="0" dirty="0"/>
            <a:t>Facial detection to calculate the male/female ratio at a nightclub</a:t>
          </a:r>
          <a:endParaRPr lang="en-US" sz="2600" kern="1200" dirty="0"/>
        </a:p>
      </dsp:txBody>
      <dsp:txXfrm>
        <a:off x="0" y="3078837"/>
        <a:ext cx="3714749" cy="2228849"/>
      </dsp:txXfrm>
    </dsp:sp>
    <dsp:sp modelId="{549B1AB0-ADDB-4FD9-8CD6-DA86DFBFEB20}">
      <dsp:nvSpPr>
        <dsp:cNvPr id="0" name=""/>
        <dsp:cNvSpPr/>
      </dsp:nvSpPr>
      <dsp:spPr>
        <a:xfrm>
          <a:off x="4086225" y="3078837"/>
          <a:ext cx="3714749" cy="2228849"/>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baseline="0"/>
            <a:t>Language understanding to allow automated support bots to understand natural language</a:t>
          </a:r>
          <a:endParaRPr lang="en-US" sz="2600" kern="1200"/>
        </a:p>
      </dsp:txBody>
      <dsp:txXfrm>
        <a:off x="4086225" y="3078837"/>
        <a:ext cx="3714749" cy="2228849"/>
      </dsp:txXfrm>
    </dsp:sp>
    <dsp:sp modelId="{C61261E1-990D-494F-8A5A-09065E198C64}">
      <dsp:nvSpPr>
        <dsp:cNvPr id="0" name=""/>
        <dsp:cNvSpPr/>
      </dsp:nvSpPr>
      <dsp:spPr>
        <a:xfrm>
          <a:off x="8172449" y="3078837"/>
          <a:ext cx="3714749" cy="2228849"/>
        </a:xfrm>
        <a:prstGeom prst="rect">
          <a:avLst/>
        </a:prstGeom>
        <a:solidFill>
          <a:schemeClr val="accent2">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baseline="0"/>
            <a:t>Object recognition to enable a blind person to read a menu</a:t>
          </a:r>
          <a:endParaRPr lang="en-US" sz="2600" kern="1200"/>
        </a:p>
      </dsp:txBody>
      <dsp:txXfrm>
        <a:off x="8172449" y="3078837"/>
        <a:ext cx="3714749" cy="2228849"/>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AI Immersion Workshop</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5/6/2017 8:37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AI Immersion Workshop</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5/6/2017 8:37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www.microsoft.com/cognitive-services/en-us/vigiglobe-wizr"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www.microsoft.com/cognitive-services/en-us/blucup-zero-keyboard"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microsoft.com/cognitive"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microsoft.com/cognitiv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microsoft.com/cognitive-services/en-us/vigiglobe-wizr"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a:t>AI Immersion Workshop</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8B44C4B-E218-4158-810E-47EF8FD635FD}" type="datetime8">
              <a:rPr lang="en-US" smtClean="0"/>
              <a:t>5/6/2017 8: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48379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baseline="0" dirty="0"/>
              <a:t>Vision</a:t>
            </a:r>
          </a:p>
          <a:p>
            <a:pPr marL="0" lvl="0" indent="0">
              <a:buFont typeface="Arial" panose="020B0604020202020204" pitchFamily="34" charset="0"/>
              <a:buNone/>
            </a:pPr>
            <a:endParaRPr lang="en-US" b="1" baseline="0" dirty="0"/>
          </a:p>
          <a:p>
            <a:pPr marL="0" lvl="0" indent="0">
              <a:buFont typeface="Arial" panose="020B0604020202020204" pitchFamily="34" charset="0"/>
              <a:buNone/>
            </a:pPr>
            <a:r>
              <a:rPr lang="en-US" b="1" baseline="0" dirty="0"/>
              <a:t>Computer Vision API: </a:t>
            </a:r>
            <a:r>
              <a:rPr lang="en-US" baseline="0" dirty="0"/>
              <a:t>as a free trial on the website microsoft.com/cognitive. There are also SDKs and Samples available on GitHub or through </a:t>
            </a:r>
            <a:r>
              <a:rPr lang="en-US" baseline="0" dirty="0" err="1"/>
              <a:t>NuGet</a:t>
            </a:r>
            <a:r>
              <a:rPr lang="en-US" baseline="0" dirty="0"/>
              <a:t>, Maven, and </a:t>
            </a:r>
            <a:r>
              <a:rPr lang="en-US" baseline="0" dirty="0" err="1"/>
              <a:t>Cocoapods</a:t>
            </a:r>
            <a:r>
              <a:rPr lang="en-US" baseline="0" dirty="0"/>
              <a:t> for select platforms to make development easier. It’s important to note here that it’s not client side running code, but light wrappers around the REST calls to make integration easy.  </a:t>
            </a:r>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sz="900" b="0" i="0" u="none" strike="noStrike" kern="1200" dirty="0">
                <a:solidFill>
                  <a:schemeClr val="tx1"/>
                </a:solidFill>
                <a:effectLst/>
                <a:latin typeface="Segoe UI Light" pitchFamily="34" charset="0"/>
                <a:ea typeface="+mn-ea"/>
                <a:cs typeface="+mn-cs"/>
              </a:rPr>
              <a:t>A photo app would use this as a way to tag user photos and make it easier for users to search through their collections. An assistive app would use this as a way to describe the surroundings to visually-impaired users. Works really well on both indoor or outdoor images; it can recognize common household objects, and it can describe outdoor scenes. However, we did not train on aerial images (say from drones), or on many close ups (so pictures where we zoomed in extremely on the subject won't do well). We also do really well recognizing celebrities (as long as most of the face is visible, and they were facing the camera).</a:t>
            </a:r>
            <a:r>
              <a:rPr lang="en-US" dirty="0"/>
              <a:t> </a:t>
            </a:r>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Face API: </a:t>
            </a:r>
            <a:r>
              <a:rPr lang="en-US" sz="900" b="0" i="0" u="none" strike="noStrike" kern="1200" dirty="0">
                <a:solidFill>
                  <a:schemeClr val="tx1"/>
                </a:solidFill>
                <a:effectLst/>
                <a:latin typeface="Segoe UI Light" pitchFamily="34" charset="0"/>
                <a:ea typeface="+mn-ea"/>
                <a:cs typeface="+mn-cs"/>
              </a:rPr>
              <a:t>Some potential uses for this technology include facial login, photo tagging, and home monitoring.</a:t>
            </a:r>
            <a:r>
              <a:rPr lang="en-US" sz="900" b="0" i="0" u="none" strike="noStrike" kern="1200" baseline="0" dirty="0">
                <a:solidFill>
                  <a:schemeClr val="tx1"/>
                </a:solidFill>
                <a:effectLst/>
                <a:latin typeface="Segoe UI Light" pitchFamily="34" charset="0"/>
                <a:ea typeface="+mn-ea"/>
                <a:cs typeface="+mn-cs"/>
              </a:rPr>
              <a:t>  Or attribute detection to know age, gender, facial hair, etc.</a:t>
            </a:r>
            <a:endParaRPr lang="en-US" sz="9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b="0" i="0" u="none" strike="noStrike" kern="1200" baseline="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900" b="1" i="0" u="none" strike="noStrike" kern="1200" baseline="0" dirty="0">
                <a:solidFill>
                  <a:schemeClr val="tx1"/>
                </a:solidFill>
                <a:effectLst/>
                <a:latin typeface="Segoe UI Light" pitchFamily="34" charset="0"/>
                <a:ea typeface="+mn-ea"/>
                <a:cs typeface="+mn-cs"/>
              </a:rPr>
              <a:t>Emotion API: </a:t>
            </a:r>
            <a:r>
              <a:rPr lang="en-US" baseline="0" dirty="0"/>
              <a:t>is available in the Azure marketplace, as a free trial on the website microsoft.com/cognitive. </a:t>
            </a:r>
            <a:r>
              <a:rPr lang="en-US" strike="noStrike" baseline="0" dirty="0"/>
              <a:t>See Computer Vision description.</a:t>
            </a:r>
          </a:p>
          <a:p>
            <a:pPr marL="0" lvl="0" indent="0">
              <a:buFont typeface="Arial" panose="020B0604020202020204" pitchFamily="34" charset="0"/>
              <a:buNone/>
            </a:pPr>
            <a:endParaRPr lang="en-US" sz="900" b="0" i="0" u="none" strike="sngStrike" kern="1200" baseline="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900" b="0" i="0" u="none" strike="noStrike" kern="1200" baseline="0" dirty="0">
                <a:solidFill>
                  <a:schemeClr val="tx1"/>
                </a:solidFill>
                <a:effectLst/>
                <a:latin typeface="Segoe UI Light" pitchFamily="34" charset="0"/>
                <a:ea typeface="+mn-ea"/>
                <a:cs typeface="+mn-cs"/>
              </a:rPr>
              <a:t>Build an app that responds to moods. Using facial expressions, this cloud-based API can detect happiness, neutrality, sadness, contempt, anger, disgust, fear, and surprise. The AI understands these emotions based on universal facial expressions, and it functions cross-culturally, so your app will work around the world. Some use cases would be an advertising company wants to test user response to an ad, a </a:t>
            </a:r>
            <a:r>
              <a:rPr lang="en-US" sz="900" b="0" i="0" u="none" strike="noStrike" kern="1200" baseline="0" dirty="0" err="1">
                <a:solidFill>
                  <a:schemeClr val="tx1"/>
                </a:solidFill>
                <a:effectLst/>
                <a:latin typeface="Segoe UI Light" pitchFamily="34" charset="0"/>
                <a:ea typeface="+mn-ea"/>
                <a:cs typeface="+mn-cs"/>
              </a:rPr>
              <a:t>tv</a:t>
            </a:r>
            <a:r>
              <a:rPr lang="en-US" sz="900" b="0" i="0" u="none" strike="noStrike" kern="1200" baseline="0" dirty="0">
                <a:solidFill>
                  <a:schemeClr val="tx1"/>
                </a:solidFill>
                <a:effectLst/>
                <a:latin typeface="Segoe UI Light" pitchFamily="34" charset="0"/>
                <a:ea typeface="+mn-ea"/>
                <a:cs typeface="+mn-cs"/>
              </a:rPr>
              <a:t> studio wants to track responses to a pilot. </a:t>
            </a:r>
          </a:p>
          <a:p>
            <a:pPr marL="0" lvl="0" indent="0">
              <a:buFont typeface="Arial" panose="020B0604020202020204" pitchFamily="34" charset="0"/>
              <a:buNone/>
            </a:pPr>
            <a:endParaRPr lang="en-US" baseline="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i="0" u="none" strike="noStrike" kern="1200" dirty="0">
                <a:solidFill>
                  <a:schemeClr val="tx1"/>
                </a:solidFill>
                <a:effectLst/>
                <a:latin typeface="Segoe UI Light" pitchFamily="34" charset="0"/>
                <a:ea typeface="+mn-ea"/>
                <a:cs typeface="+mn-cs"/>
              </a:rPr>
              <a:t>Video API: </a:t>
            </a:r>
            <a:r>
              <a:rPr lang="en-US" baseline="0" dirty="0"/>
              <a:t>as a free trial on the website microsoft.com/cognitive.</a:t>
            </a:r>
            <a:r>
              <a:rPr lang="en-US" strike="noStrike" baseline="0" dirty="0"/>
              <a:t>  See Computer Vision description.</a:t>
            </a:r>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aseline="0" dirty="0"/>
              <a:t>It</a:t>
            </a:r>
            <a:r>
              <a:rPr lang="en-US" sz="900" b="1" i="0" u="none" strike="noStrike" kern="1200" dirty="0">
                <a:solidFill>
                  <a:schemeClr val="tx1"/>
                </a:solidFill>
                <a:effectLst/>
                <a:latin typeface="Segoe UI Light" pitchFamily="34" charset="0"/>
                <a:ea typeface="+mn-ea"/>
                <a:cs typeface="+mn-cs"/>
              </a:rPr>
              <a:t> </a:t>
            </a:r>
            <a:r>
              <a:rPr lang="en-US" sz="900" b="0" i="0" u="none" strike="noStrike" kern="1200" dirty="0">
                <a:solidFill>
                  <a:schemeClr val="tx1"/>
                </a:solidFill>
                <a:effectLst/>
                <a:latin typeface="Segoe UI Light" pitchFamily="34" charset="0"/>
                <a:ea typeface="+mn-ea"/>
                <a:cs typeface="+mn-cs"/>
              </a:rPr>
              <a:t>brings Microsoft state of the art video processing algorithms to developers. With Video API, developers can analyze and automatically edit videos, including stabilize videos, create motion thumbnails, track faces, and detect motion.</a:t>
            </a:r>
            <a:r>
              <a:rPr lang="en-US" dirty="0"/>
              <a:t> Use cases:</a:t>
            </a:r>
            <a:r>
              <a:rPr lang="en-US" baseline="0" dirty="0"/>
              <a:t> </a:t>
            </a:r>
            <a:r>
              <a:rPr lang="en-US" sz="900" b="0" i="0" u="none" strike="noStrike" kern="1200" dirty="0">
                <a:solidFill>
                  <a:schemeClr val="tx1"/>
                </a:solidFill>
                <a:effectLst/>
                <a:latin typeface="Segoe UI Light" pitchFamily="34" charset="0"/>
                <a:ea typeface="+mn-ea"/>
                <a:cs typeface="+mn-cs"/>
              </a:rPr>
              <a:t>For Stabilization: If you have multiple action videos, you can use the stabilization algorithm to make them less shaky and easier to watch. You can also use the stabilization algorithm as a first step in performing other video APIs. For Face Tracking: You can track faces in a video to do A/B testing in a retail setting. You can combine Video API Face Tracking with capabilities in Face API to search through surveillance, crime, or media footage to look for certain person. For Motion Detection: Instead of having to watch long clips of surveillance footage, the API will let you know what time motion occurred and its duration. For Video Thumbnail: Take a long video, such as a keynote presentation, and automatically create a short preview clip of the talk.</a:t>
            </a:r>
            <a:r>
              <a:rPr lang="en-US" dirty="0"/>
              <a:t> </a:t>
            </a:r>
            <a:r>
              <a:rPr lang="en-US" sz="900" b="0" i="0" u="none" strike="noStrike" kern="1200" dirty="0">
                <a:solidFill>
                  <a:schemeClr val="tx1"/>
                </a:solidFill>
                <a:effectLst/>
                <a:latin typeface="Segoe UI Light" pitchFamily="34" charset="0"/>
                <a:ea typeface="+mn-ea"/>
                <a:cs typeface="+mn-cs"/>
              </a:rPr>
              <a:t>For Face Tracking: Works best for frontal faces. Currently cannot detect small faces, side or partial faces. For Motion Detection: Detects motion on a stationary background (e.g. fixed camera). Current limitations of the algorithms include night vision videos, semi-transparent objects, and small objects. For Video Thumbnail: Take a long video, such as a keynote presentation, and automatically create a short preview clip of the talk.</a:t>
            </a:r>
            <a:r>
              <a:rPr lang="en-US" dirty="0"/>
              <a:t> </a:t>
            </a:r>
          </a:p>
          <a:p>
            <a:pPr marL="0" lvl="0" indent="0">
              <a:buFont typeface="Arial" panose="020B0604020202020204" pitchFamily="34" charset="0"/>
              <a:buNone/>
            </a:pPr>
            <a:endParaRPr lang="en-US" baseline="0"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613842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Image from https://www.microsoft.com/cognitive-services/en-us/computer-vision-api/documentation/analyzeimage</a:t>
            </a:r>
          </a:p>
          <a:p>
            <a:r>
              <a:rPr lang="en-US" dirty="0"/>
              <a:t>Text at https://www.microsoft.com/cognitive-services/en-us/computer-vision-api/documentation/Images/86categories</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61094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25496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Facial detection constraints and excellent documentation at https://dev.projectoxford.ai/docs/services/563879b61984550e40cbbe8d/operations/563879b61984550f30395236</a:t>
            </a:r>
          </a:p>
          <a:p>
            <a:endParaRPr lang="en-US" baseline="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2193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kcconfidential.com/wp-content/uploads/2013/08/orange-is-the-new-black-cast-2.jpg</a:t>
            </a:r>
          </a:p>
          <a:p>
            <a:r>
              <a:rPr lang="en-US" dirty="0"/>
              <a:t>http://i.huffpost.com/gen/2364914/images/o-GRUMPY-CAT-facebook.jpg</a:t>
            </a:r>
          </a:p>
          <a:p>
            <a:r>
              <a:rPr lang="en-US" dirty="0"/>
              <a:t>https://pbs.twimg.com/media/CsgiyNWVYAACAG-.jpg:large</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AI Immersion Workshop</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27F603A-779F-4101-9B83-C34650C566A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2017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43958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09131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31812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Edge.  </a:t>
            </a:r>
          </a:p>
          <a:p>
            <a:endParaRPr lang="en-US" dirty="0"/>
          </a:p>
          <a:p>
            <a:r>
              <a:rPr lang="en-US" dirty="0"/>
              <a:t>Speech to Text: Four score and seven years ago, our forefathers</a:t>
            </a:r>
            <a:r>
              <a:rPr lang="en-US" baseline="0" dirty="0"/>
              <a:t> brought forth on this continent, …</a:t>
            </a:r>
          </a:p>
          <a:p>
            <a:r>
              <a:rPr lang="en-US" dirty="0"/>
              <a:t>Text to Speech: How may</a:t>
            </a:r>
            <a:r>
              <a:rPr lang="en-US" baseline="0" dirty="0"/>
              <a:t> I serve you, Khaleesi?  </a:t>
            </a:r>
          </a:p>
          <a:p>
            <a:endParaRPr lang="en-US" baseline="0" dirty="0"/>
          </a:p>
          <a:p>
            <a:r>
              <a:rPr lang="en-US" baseline="0" dirty="0"/>
              <a:t>Speaker Recognition: President demo</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AI Immersion Workshop</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27F603A-779F-4101-9B83-C34650C566A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9:0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630138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954982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ing Spell Check API: </a:t>
            </a:r>
            <a:r>
              <a:rPr lang="en-US" sz="900" b="0" i="0" u="none" strike="noStrike" kern="1200" dirty="0">
                <a:solidFill>
                  <a:schemeClr val="tx1"/>
                </a:solidFill>
                <a:effectLst/>
                <a:latin typeface="Segoe UI Light" pitchFamily="34" charset="0"/>
                <a:ea typeface="+mn-ea"/>
                <a:cs typeface="+mn-cs"/>
              </a:rPr>
              <a:t>Microsoft’s state-of-the-art cloud-based spelling algorithms to detect a wide variety of spelling errors and provide accurate suggestions. Using Bing Spell Check, your mobile and PC apps will be powered with state-of-the-art spelling capabilities. Our service is trained on a massive corpus of data gleaned from billions of web pages.  There is no need to train your own models.  The speller model is updated regularly and incorporates new terms and brands almost as quickly as they appear on the web. This API is available through Microsoft</a:t>
            </a:r>
            <a:r>
              <a:rPr lang="en-US" sz="900" b="0" i="0" u="none" strike="noStrike" kern="1200" baseline="0" dirty="0">
                <a:solidFill>
                  <a:schemeClr val="tx1"/>
                </a:solidFill>
                <a:effectLst/>
                <a:latin typeface="Segoe UI Light" pitchFamily="34" charset="0"/>
                <a:ea typeface="+mn-ea"/>
                <a:cs typeface="+mn-cs"/>
              </a:rPr>
              <a:t> Cognitive Services </a:t>
            </a:r>
            <a:r>
              <a:rPr lang="en-US" sz="900" b="0" i="0" u="none" strike="noStrike" kern="1200" dirty="0">
                <a:solidFill>
                  <a:schemeClr val="tx1"/>
                </a:solidFill>
                <a:effectLst/>
                <a:latin typeface="Segoe UI Light" pitchFamily="34" charset="0"/>
                <a:ea typeface="+mn-ea"/>
                <a:cs typeface="+mn-cs"/>
              </a:rPr>
              <a:t>for customers with low-volume and high-latency jobs.  For high-volume and low-latency we have an internal API which may be more suitable.  </a:t>
            </a:r>
          </a:p>
          <a:p>
            <a:endParaRPr lang="en-US" sz="900" b="0" i="0" u="none" strike="noStrike" kern="1200" dirty="0">
              <a:solidFill>
                <a:schemeClr val="tx1"/>
              </a:solidFill>
              <a:effectLst/>
              <a:latin typeface="Segoe UI Light" pitchFamily="34" charset="0"/>
              <a:ea typeface="+mn-ea"/>
              <a:cs typeface="+mn-cs"/>
            </a:endParaRPr>
          </a:p>
          <a:p>
            <a:r>
              <a:rPr lang="en-US" sz="900" b="0" i="0" u="none" strike="noStrike" kern="1200" dirty="0">
                <a:solidFill>
                  <a:schemeClr val="tx1"/>
                </a:solidFill>
                <a:effectLst/>
                <a:latin typeface="Segoe UI Light" pitchFamily="34" charset="0"/>
                <a:ea typeface="+mn-ea"/>
                <a:cs typeface="+mn-cs"/>
              </a:rPr>
              <a:t>Use cases: 1) Improve the quality of a website's product search 2) provide spell correction for a keyboard app 3) provide spell correction for text fields in an app or web page 4) detect errors in UI text and user data.</a:t>
            </a:r>
            <a:r>
              <a:rPr lang="en-US" sz="900" b="0" i="0" u="none" strike="noStrike" kern="1200" baseline="0" dirty="0">
                <a:solidFill>
                  <a:schemeClr val="tx1"/>
                </a:solidFill>
                <a:effectLst/>
                <a:latin typeface="Segoe UI Light" pitchFamily="34" charset="0"/>
                <a:ea typeface="+mn-ea"/>
                <a:cs typeface="+mn-cs"/>
              </a:rPr>
              <a:t> See https://blogs.msdn.microsoft.com/msr_er/2010/12/15/building-a-better-speller-bing-and-microsoft-research-offer-prizes-for-best-search-engine-spelling-alteration-services/  The speller is exceptional at common spelling errors with low edit-distance (such as </a:t>
            </a:r>
            <a:r>
              <a:rPr lang="en-US" sz="900" b="0" i="0" u="none" strike="noStrike" kern="1200" baseline="0" dirty="0" err="1">
                <a:solidFill>
                  <a:schemeClr val="tx1"/>
                </a:solidFill>
                <a:effectLst/>
                <a:latin typeface="Segoe UI Light" pitchFamily="34" charset="0"/>
                <a:ea typeface="+mn-ea"/>
                <a:cs typeface="+mn-cs"/>
              </a:rPr>
              <a:t>febuary</a:t>
            </a:r>
            <a:r>
              <a:rPr lang="en-US" sz="900" b="0" i="0" u="none" strike="noStrike" kern="1200" baseline="0" dirty="0">
                <a:solidFill>
                  <a:schemeClr val="tx1"/>
                </a:solidFill>
                <a:effectLst/>
                <a:latin typeface="Segoe UI Light" pitchFamily="34" charset="0"/>
                <a:ea typeface="+mn-ea"/>
                <a:cs typeface="+mn-cs"/>
              </a:rPr>
              <a:t>-&gt;February) but a lot of other spellers are good at that as well.  We Do a very good job with word breaking, proper names in context (try "director </a:t>
            </a:r>
            <a:r>
              <a:rPr lang="en-US" sz="900" b="0" i="0" u="none" strike="noStrike" kern="1200" baseline="0" dirty="0" err="1">
                <a:solidFill>
                  <a:schemeClr val="tx1"/>
                </a:solidFill>
                <a:effectLst/>
                <a:latin typeface="Segoe UI Light" pitchFamily="34" charset="0"/>
                <a:ea typeface="+mn-ea"/>
                <a:cs typeface="+mn-cs"/>
              </a:rPr>
              <a:t>stephen</a:t>
            </a:r>
            <a:r>
              <a:rPr lang="en-US" sz="900" b="0" i="0" u="none" strike="noStrike" kern="1200" baseline="0" dirty="0">
                <a:solidFill>
                  <a:schemeClr val="tx1"/>
                </a:solidFill>
                <a:effectLst/>
                <a:latin typeface="Segoe UI Light" pitchFamily="34" charset="0"/>
                <a:ea typeface="+mn-ea"/>
                <a:cs typeface="+mn-cs"/>
              </a:rPr>
              <a:t> </a:t>
            </a:r>
            <a:r>
              <a:rPr lang="en-US" sz="900" b="0" i="0" u="none" strike="noStrike" kern="1200" baseline="0" dirty="0" err="1">
                <a:solidFill>
                  <a:schemeClr val="tx1"/>
                </a:solidFill>
                <a:effectLst/>
                <a:latin typeface="Segoe UI Light" pitchFamily="34" charset="0"/>
                <a:ea typeface="+mn-ea"/>
                <a:cs typeface="+mn-cs"/>
              </a:rPr>
              <a:t>spielberg</a:t>
            </a:r>
            <a:r>
              <a:rPr lang="en-US" sz="900" b="0" i="0" u="none" strike="noStrike" kern="1200" baseline="0" dirty="0">
                <a:solidFill>
                  <a:schemeClr val="tx1"/>
                </a:solidFill>
                <a:effectLst/>
                <a:latin typeface="Segoe UI Light" pitchFamily="34" charset="0"/>
                <a:ea typeface="+mn-ea"/>
                <a:cs typeface="+mn-cs"/>
              </a:rPr>
              <a:t>") and fictional character names, just a few examples.  Areas that are a challenge are capitalization (we don't know what to do with "March" for example, even with context) and consistency (there are times when we will flag a word only intermittently based on the context).</a:t>
            </a:r>
          </a:p>
          <a:p>
            <a:endParaRPr lang="en-US" sz="900" b="0" i="0" u="none" strike="noStrike" kern="1200" baseline="0" dirty="0">
              <a:solidFill>
                <a:schemeClr val="tx1"/>
              </a:solidFill>
              <a:effectLst/>
              <a:latin typeface="Segoe UI Light" pitchFamily="34" charset="0"/>
              <a:ea typeface="+mn-ea"/>
              <a:cs typeface="+mn-cs"/>
            </a:endParaRPr>
          </a:p>
          <a:p>
            <a:r>
              <a:rPr lang="en-US" sz="900" b="1" i="0" u="none" strike="noStrike" kern="1200" baseline="0" dirty="0">
                <a:solidFill>
                  <a:schemeClr val="tx1"/>
                </a:solidFill>
                <a:effectLst/>
                <a:latin typeface="Segoe UI Light" pitchFamily="34" charset="0"/>
                <a:ea typeface="+mn-ea"/>
                <a:cs typeface="+mn-cs"/>
              </a:rPr>
              <a:t>Web Language Model API: </a:t>
            </a:r>
            <a:r>
              <a:rPr lang="en-US" sz="900" b="0" i="0" u="none" strike="noStrike" kern="1200" dirty="0">
                <a:solidFill>
                  <a:schemeClr val="tx1"/>
                </a:solidFill>
                <a:effectLst/>
                <a:latin typeface="Segoe UI Light" pitchFamily="34" charset="0"/>
                <a:ea typeface="+mn-ea"/>
                <a:cs typeface="+mn-cs"/>
              </a:rPr>
              <a:t>Web Language API indexes the web and Bing queries to allow users to calculate the probabilities of natural language expressions and estimate a list of most likely words to follow an existing sequence of words.</a:t>
            </a:r>
            <a:r>
              <a:rPr lang="en-US" dirty="0"/>
              <a:t> Use this API to insert spaces into a string of words without spaces, like a hashtag or URL.  Use this API to </a:t>
            </a:r>
            <a:r>
              <a:rPr lang="en-US" dirty="0" err="1"/>
              <a:t>rerank</a:t>
            </a:r>
            <a:r>
              <a:rPr lang="en-US" dirty="0"/>
              <a:t> machine translation/speech recognition candidate sentences based on probability of the sentence.  </a:t>
            </a:r>
          </a:p>
          <a:p>
            <a:endParaRPr lang="en-US" dirty="0"/>
          </a:p>
          <a:p>
            <a:r>
              <a:rPr lang="en-US" dirty="0"/>
              <a:t>Use this API for academic research. http://research.microsoft.com/apps/pubs/default.aspx?id=130762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We also have SDKs available for </a:t>
            </a:r>
            <a:r>
              <a:rPr lang="en-US" baseline="0" dirty="0" err="1"/>
              <a:t>WebLM</a:t>
            </a:r>
            <a:endParaRPr lang="en-US" dirty="0"/>
          </a:p>
          <a:p>
            <a:endParaRPr lang="en-US" sz="900" b="0" i="0" u="none" strike="noStrike" kern="1200" baseline="0" dirty="0">
              <a:solidFill>
                <a:schemeClr val="tx1"/>
              </a:solidFill>
              <a:effectLst/>
              <a:latin typeface="Segoe UI Light" pitchFamily="34" charset="0"/>
              <a:ea typeface="+mn-ea"/>
              <a:cs typeface="+mn-cs"/>
            </a:endParaRPr>
          </a:p>
          <a:p>
            <a:endParaRPr lang="en-US" sz="900" b="0" i="0" u="none" strike="noStrike" kern="1200" baseline="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i="0" u="none" strike="noStrike" kern="1200" baseline="0" dirty="0">
                <a:solidFill>
                  <a:schemeClr val="tx1"/>
                </a:solidFill>
                <a:effectLst/>
                <a:latin typeface="Segoe UI Light" pitchFamily="34" charset="0"/>
                <a:ea typeface="+mn-ea"/>
                <a:cs typeface="+mn-cs"/>
              </a:rPr>
              <a:t>Linguistic Analysis API</a:t>
            </a:r>
            <a:r>
              <a:rPr lang="en-US" sz="900" b="0" i="0" u="none" strike="noStrike" kern="1200" baseline="0" dirty="0">
                <a:solidFill>
                  <a:schemeClr val="tx1"/>
                </a:solidFill>
                <a:effectLst/>
                <a:latin typeface="Segoe UI Light" pitchFamily="34" charset="0"/>
                <a:ea typeface="+mn-ea"/>
                <a:cs typeface="+mn-cs"/>
              </a:rPr>
              <a:t>: </a:t>
            </a:r>
            <a:r>
              <a:rPr lang="en-US" dirty="0"/>
              <a:t>The</a:t>
            </a:r>
            <a:r>
              <a:rPr lang="en-US" baseline="0" dirty="0"/>
              <a:t> L</a:t>
            </a:r>
            <a:r>
              <a:rPr lang="en-US" dirty="0"/>
              <a:t>inguistic Analysis</a:t>
            </a:r>
            <a:r>
              <a:rPr lang="en-US" baseline="0" dirty="0"/>
              <a:t> API helps you gain insights from text. Given a natural language parse, it’s easy to identify the concepts and entities (noun phrases), actions (verbs and verb phrases), descriptive words, and more. The processed text can provide useful features for classification tasks such as sentiment analysi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We also have SDKs available for Linguistic Analysis.</a:t>
            </a: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i="0" u="none" strike="noStrike"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i="0" u="none" strike="noStrike"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1" i="0" u="none" strike="noStrike" kern="1200" baseline="0" dirty="0">
                <a:solidFill>
                  <a:schemeClr val="tx1"/>
                </a:solidFill>
                <a:effectLst/>
                <a:latin typeface="Segoe UI Light" pitchFamily="34" charset="0"/>
                <a:ea typeface="+mn-ea"/>
                <a:cs typeface="+mn-cs"/>
              </a:rPr>
              <a:t>LUIS: </a:t>
            </a:r>
            <a:r>
              <a:rPr lang="en-US" sz="900" b="0" i="0" u="none" strike="noStrike" kern="1200" dirty="0">
                <a:solidFill>
                  <a:schemeClr val="tx1"/>
                </a:solidFill>
                <a:effectLst/>
                <a:latin typeface="Segoe UI Light" pitchFamily="34" charset="0"/>
                <a:ea typeface="+mn-ea"/>
                <a:cs typeface="+mn-cs"/>
              </a:rPr>
              <a:t>Language Understanding Intelligent Service (LUIS) allows developers to build a model that understands natural language and commands tailored to their application.  Example: You can say “turn down the thermostat in the living room,” send it to a LUIS model, and instead of just returning the text that represents what was said, LUIS will return: the action is “turn down,” the location is “living room,” and the target is “thermostat.” LUIS allows developers to iteratively build on these models and take speech or text input and return a structured representation of what the person said.   Not only that but by build LUIS will help developers create and  train smart conversational bot (Intercom or Slack) with a single button.  LUIS will also offer action fulfillment capabilities by simple integration with </a:t>
            </a:r>
            <a:r>
              <a:rPr lang="en-US" sz="900" b="0" i="0" u="none" strike="noStrike" kern="1200" dirty="0" err="1">
                <a:solidFill>
                  <a:schemeClr val="tx1"/>
                </a:solidFill>
                <a:effectLst/>
                <a:latin typeface="Segoe UI Light" pitchFamily="34" charset="0"/>
                <a:ea typeface="+mn-ea"/>
                <a:cs typeface="+mn-cs"/>
              </a:rPr>
              <a:t>webhooks</a:t>
            </a:r>
            <a:r>
              <a:rPr lang="en-US" sz="900" b="0" i="0" u="none" strike="noStrike" kern="1200" dirty="0">
                <a:solidFill>
                  <a:schemeClr val="tx1"/>
                </a:solidFill>
                <a:effectLst/>
                <a:latin typeface="Segoe UI Light" pitchFamily="34" charset="0"/>
                <a:ea typeface="+mn-ea"/>
                <a:cs typeface="+mn-cs"/>
              </a:rPr>
              <a:t>. LUIS works pretty well it comes to intents. For the entities, the learning curve is slower especially when the number of entities increases. LUIS only supports 20 intents &amp; 10 entities yet by build each entities can have up to 10 children. </a:t>
            </a:r>
            <a:br>
              <a:rPr lang="en-US" sz="900" b="0" i="0" u="none" strike="noStrike" kern="1200" dirty="0">
                <a:solidFill>
                  <a:schemeClr val="tx1"/>
                </a:solidFill>
                <a:effectLst/>
                <a:latin typeface="Segoe UI Light" pitchFamily="34" charset="0"/>
                <a:ea typeface="+mn-ea"/>
                <a:cs typeface="+mn-cs"/>
              </a:rPr>
            </a:b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65133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a:t>AI Immersion Workshop</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83C9CD-37C6-4B53-B210-CC8F66F90493}" type="datetime8">
              <a:rPr lang="en-US" smtClean="0"/>
              <a:t>5/6/2017 8: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9587731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478095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https://azure.microsoft.com/en-us/documentation/articles/cognitive-services-text-analytics-quick-start/</a:t>
            </a:r>
          </a:p>
          <a:p>
            <a:endParaRPr lang="en-US" dirty="0"/>
          </a:p>
        </p:txBody>
      </p:sp>
    </p:spTree>
    <p:extLst>
      <p:ext uri="{BB962C8B-B14F-4D97-AF65-F5344CB8AC3E}">
        <p14:creationId xmlns:p14="http://schemas.microsoft.com/office/powerpoint/2010/main" val="37115683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AI Immersion Workshop</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7/2017 2: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8792768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AI Immersion Workshop</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27F603A-779F-4101-9B83-C34650C566A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9:1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416278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157658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AI Immersion Workshop</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27F603A-779F-4101-9B83-C34650C566A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9:1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78381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624633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dirty="0"/>
              <a:t>Academic Knowledge API: </a:t>
            </a:r>
            <a:r>
              <a:rPr lang="en-US" sz="900" b="0" i="0" u="none" strike="noStrike" kern="1200" dirty="0">
                <a:solidFill>
                  <a:schemeClr val="tx1"/>
                </a:solidFill>
                <a:effectLst/>
                <a:latin typeface="Segoe UI Light" pitchFamily="34" charset="0"/>
                <a:ea typeface="+mn-ea"/>
                <a:cs typeface="+mn-cs"/>
              </a:rPr>
              <a:t>The Academic Knowledge API enable developers to interpret user queries for academic intent and retrieve rich entity information about research papers, authors, journals, conferences, and universities from the Microsoft Academic Graph (MAG).</a:t>
            </a:r>
            <a:r>
              <a:rPr lang="en-US" dirty="0"/>
              <a:t> </a:t>
            </a:r>
            <a:r>
              <a:rPr lang="en-US" sz="900" b="0" i="0" u="none" strike="noStrike" kern="1200" dirty="0">
                <a:solidFill>
                  <a:schemeClr val="tx1"/>
                </a:solidFill>
                <a:effectLst/>
                <a:latin typeface="Segoe UI Light" pitchFamily="34" charset="0"/>
                <a:ea typeface="+mn-ea"/>
                <a:cs typeface="+mn-cs"/>
              </a:rPr>
              <a:t>1. Developers can use this API to build search features such as the knowledge-based query auto-suggest and search results at  http://academic.microsoft.com.  </a:t>
            </a:r>
            <a:br>
              <a:rPr lang="en-US" sz="900" b="0" i="0" u="none" strike="noStrike" kern="1200" dirty="0">
                <a:solidFill>
                  <a:schemeClr val="tx1"/>
                </a:solidFill>
                <a:effectLst/>
                <a:latin typeface="Segoe UI Light" pitchFamily="34" charset="0"/>
                <a:ea typeface="+mn-ea"/>
                <a:cs typeface="+mn-cs"/>
              </a:rPr>
            </a:br>
            <a:r>
              <a:rPr lang="en-US" sz="900" b="0" i="0" u="none" strike="noStrike" kern="1200" dirty="0">
                <a:solidFill>
                  <a:schemeClr val="tx1"/>
                </a:solidFill>
                <a:effectLst/>
                <a:latin typeface="Segoe UI Light" pitchFamily="34" charset="0"/>
                <a:ea typeface="+mn-ea"/>
                <a:cs typeface="+mn-cs"/>
              </a:rPr>
              <a:t>2. Universities can retrieve analytics data about their researchers' publications, topics, and venues. 3. Conference organizers can analyze the citation patterns of their conference papers. 4. Data scientists and computer science researchers can develop new ranking and analysis approaches over a large heterogeneous network.</a:t>
            </a:r>
            <a:r>
              <a:rPr lang="en-US" dirty="0"/>
              <a:t> </a:t>
            </a:r>
          </a:p>
          <a:p>
            <a:pPr marL="0" lvl="0" indent="0">
              <a:buFont typeface="Arial" panose="020B0604020202020204" pitchFamily="34" charset="0"/>
              <a:buNone/>
            </a:pPr>
            <a:endParaRPr lang="en-US" dirty="0"/>
          </a:p>
          <a:p>
            <a:pPr marL="0" lvl="0" indent="0">
              <a:buFont typeface="Arial" panose="020B0604020202020204" pitchFamily="34" charset="0"/>
              <a:buNone/>
            </a:pPr>
            <a:r>
              <a:rPr lang="en-US" dirty="0"/>
              <a:t>A publication about our approach can be found here: http://research.microsoft.com/apps/pubs/default.aspx?id=246609  </a:t>
            </a:r>
            <a:r>
              <a:rPr lang="en-US" sz="900" b="0" i="0" u="none" strike="noStrike" kern="1200" dirty="0">
                <a:solidFill>
                  <a:schemeClr val="tx1"/>
                </a:solidFill>
                <a:effectLst/>
                <a:latin typeface="Segoe UI Light" pitchFamily="34" charset="0"/>
                <a:ea typeface="+mn-ea"/>
                <a:cs typeface="+mn-cs"/>
              </a:rPr>
              <a:t>The underlying data graph (Microsoft Academic Graph) is constructed over discovered academic papers on the web. The data is largely unstructured, of variable quality, and ambiguous.  We are constantly working to improve this data quality and to correctly aggregate the multiple instances of authors, papers, etc. into a single representative entity in the graph.       </a:t>
            </a:r>
            <a:r>
              <a:rPr lang="en-US" dirty="0"/>
              <a:t> </a:t>
            </a:r>
          </a:p>
          <a:p>
            <a:pPr marL="0" lvl="0" indent="0">
              <a:buFont typeface="Arial" panose="020B0604020202020204" pitchFamily="34" charset="0"/>
              <a:buNone/>
            </a:pPr>
            <a:endParaRPr lang="en-US" dirty="0"/>
          </a:p>
          <a:p>
            <a:pPr marL="0" lvl="0" indent="0">
              <a:buFont typeface="Arial" panose="020B0604020202020204" pitchFamily="34" charset="0"/>
              <a:buNone/>
            </a:pPr>
            <a:r>
              <a:rPr lang="en-US" b="1" dirty="0"/>
              <a:t>Knowledge Exploration Service API: </a:t>
            </a:r>
            <a:r>
              <a:rPr lang="en-US" sz="900" b="0" i="0" u="none" strike="noStrike" kern="1200" dirty="0">
                <a:solidFill>
                  <a:schemeClr val="tx1"/>
                </a:solidFill>
                <a:effectLst/>
                <a:latin typeface="Segoe UI Light" pitchFamily="34" charset="0"/>
                <a:ea typeface="+mn-ea"/>
                <a:cs typeface="+mn-cs"/>
              </a:rPr>
              <a:t>Enable interactive search experience over structured data via natural language.  Indexes customer's structured data (BYOD) with support for prefix completion.  Generates annotated interpretations/completions of natural language queries.</a:t>
            </a:r>
            <a:r>
              <a:rPr lang="en-US" dirty="0"/>
              <a:t> Publishers/libraries can use this to create interactive search over their publications similar to academic.microsoft.com.  Merchants can create interactive search experience to help users find and discover products.  Data owners can create systems that answer natural language user questions. </a:t>
            </a:r>
            <a:r>
              <a:rPr lang="en-US" sz="900" b="0" i="0" u="none" strike="noStrike" kern="1200" dirty="0">
                <a:solidFill>
                  <a:schemeClr val="tx1"/>
                </a:solidFill>
                <a:effectLst/>
                <a:latin typeface="Segoe UI Light" pitchFamily="34" charset="0"/>
                <a:ea typeface="+mn-ea"/>
                <a:cs typeface="+mn-cs"/>
              </a:rPr>
              <a:t>It works best when the structured data is clean and the natural language structure is simple and predictable.  Otherwise, customers will have to invest a bit of work to generate the structured data and author the grammar.  We are working on future components to simplify both authoring aspects.</a:t>
            </a:r>
            <a:r>
              <a:rPr lang="en-US" dirty="0"/>
              <a:t> </a:t>
            </a:r>
          </a:p>
          <a:p>
            <a:pPr marL="0" lvl="0" indent="0">
              <a:buFont typeface="Arial" panose="020B0604020202020204" pitchFamily="34" charset="0"/>
              <a:buNone/>
            </a:pPr>
            <a:endParaRPr lang="en-US" dirty="0"/>
          </a:p>
          <a:p>
            <a:pPr marL="0" lvl="0" indent="0">
              <a:buFont typeface="Arial" panose="020B0604020202020204" pitchFamily="34" charset="0"/>
              <a:buNone/>
            </a:pPr>
            <a:endParaRPr lang="en-US" dirty="0"/>
          </a:p>
          <a:p>
            <a:pPr marL="0" lvl="0" indent="0">
              <a:buFont typeface="Arial" panose="020B0604020202020204" pitchFamily="34" charset="0"/>
              <a:buNone/>
            </a:pPr>
            <a:r>
              <a:rPr lang="en-US" b="1" dirty="0"/>
              <a:t>Entity</a:t>
            </a:r>
            <a:r>
              <a:rPr lang="en-US" b="1" baseline="0" dirty="0"/>
              <a:t> Linking Service API: </a:t>
            </a:r>
            <a:r>
              <a:rPr lang="en-US" sz="900" b="0" i="0" u="none" strike="noStrike" kern="1200" dirty="0">
                <a:solidFill>
                  <a:schemeClr val="tx1"/>
                </a:solidFill>
                <a:effectLst/>
                <a:latin typeface="Segoe UI Light" pitchFamily="34" charset="0"/>
                <a:ea typeface="+mn-ea"/>
                <a:cs typeface="+mn-cs"/>
              </a:rPr>
              <a:t> Given a specific paragraph of text within a document, the Entity Linking will recognize and identify each separate entity based on the context and linking the entity to </a:t>
            </a:r>
            <a:r>
              <a:rPr lang="en-US" sz="900" b="0" i="0" u="none" strike="noStrike" kern="1200" dirty="0" err="1">
                <a:solidFill>
                  <a:schemeClr val="tx1"/>
                </a:solidFill>
                <a:effectLst/>
                <a:latin typeface="Segoe UI Light" pitchFamily="34" charset="0"/>
                <a:ea typeface="+mn-ea"/>
                <a:cs typeface="+mn-cs"/>
              </a:rPr>
              <a:t>wikipedia</a:t>
            </a:r>
            <a:r>
              <a:rPr lang="en-US" sz="900" b="0" i="0" u="none" strike="noStrike" kern="1200" dirty="0">
                <a:solidFill>
                  <a:schemeClr val="tx1"/>
                </a:solidFill>
                <a:effectLst/>
                <a:latin typeface="Segoe UI Light" pitchFamily="34" charset="0"/>
                <a:ea typeface="+mn-ea"/>
                <a:cs typeface="+mn-cs"/>
              </a:rPr>
              <a:t>.</a:t>
            </a:r>
            <a:r>
              <a:rPr lang="en-US" dirty="0"/>
              <a:t> Use cases: </a:t>
            </a:r>
            <a:r>
              <a:rPr lang="en-US" sz="900" b="0" i="0" u="none" strike="noStrike" kern="1200" dirty="0">
                <a:solidFill>
                  <a:schemeClr val="tx1"/>
                </a:solidFill>
                <a:effectLst/>
                <a:latin typeface="Segoe UI Light" pitchFamily="34" charset="0"/>
                <a:ea typeface="+mn-ea"/>
                <a:cs typeface="+mn-cs"/>
              </a:rPr>
              <a:t>A news agency would use this to analysis their news article to create relations between articles, a news agency would use this to generate tags for article and make recommendation for reader, a company would use this to track the PR articles mentioned it and product comments to track customer feedback. </a:t>
            </a:r>
            <a:r>
              <a:rPr lang="en-US" baseline="0" dirty="0"/>
              <a:t>We also have SDKs available for Entity Linking.</a:t>
            </a:r>
            <a:endParaRPr lang="en-US" dirty="0"/>
          </a:p>
          <a:p>
            <a:pPr marL="0" lvl="0" indent="0">
              <a:buFont typeface="Arial" panose="020B0604020202020204" pitchFamily="34" charset="0"/>
              <a:buNone/>
            </a:pPr>
            <a:endParaRPr lang="en-US" sz="9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b="0" i="0" u="none" strike="noStrike" kern="1200" dirty="0">
              <a:solidFill>
                <a:schemeClr val="tx1"/>
              </a:solidFill>
              <a:effectLst/>
              <a:latin typeface="Segoe UI Light"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265846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26712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b="0" i="0" u="none" strike="noStrike" kern="1200" dirty="0">
                <a:solidFill>
                  <a:schemeClr val="tx1"/>
                </a:solidFill>
                <a:effectLst/>
                <a:latin typeface="Segoe UI Light" pitchFamily="34" charset="0"/>
                <a:ea typeface="+mn-ea"/>
                <a:cs typeface="+mn-cs"/>
              </a:rPr>
              <a:t>The Search APIs provide access to the search technology that power Bing.com and a long list of 1st-party (Office, Cortana, Xbox, Edge) and 3rd-party (AOL, Apple, Amazon, Yahoo etc.) partners. In total, we have 4 Search APIs for web, image, video and news search. In addition we provide access to our Autosuggest (type-ahead) and Spell Check services.</a:t>
            </a:r>
            <a:r>
              <a:rPr lang="en-US" dirty="0"/>
              <a:t> </a:t>
            </a:r>
          </a:p>
          <a:p>
            <a:pPr marL="0" lvl="0" indent="0">
              <a:buFont typeface="Arial" panose="020B0604020202020204" pitchFamily="34" charset="0"/>
              <a:buNone/>
            </a:pPr>
            <a:endParaRPr lang="en-US" b="0" baseline="0" dirty="0"/>
          </a:p>
          <a:p>
            <a:pPr marL="0" lvl="0" indent="0">
              <a:buFont typeface="Arial" panose="020B0604020202020204" pitchFamily="34" charset="0"/>
              <a:buNone/>
            </a:pPr>
            <a:r>
              <a:rPr lang="en-US" b="1" baseline="0" dirty="0"/>
              <a:t>Bing Web Search API: </a:t>
            </a:r>
            <a:r>
              <a:rPr lang="en-US" sz="900" b="0" i="0" u="none" strike="noStrike" kern="1200" baseline="0" dirty="0">
                <a:solidFill>
                  <a:schemeClr val="tx1"/>
                </a:solidFill>
                <a:effectLst/>
                <a:latin typeface="Segoe UI Light" pitchFamily="34" charset="0"/>
                <a:ea typeface="+mn-ea"/>
                <a:cs typeface="+mn-cs"/>
              </a:rPr>
              <a:t>is th</a:t>
            </a:r>
            <a:r>
              <a:rPr lang="en-US" sz="900" b="0" i="0" u="none" strike="noStrike" kern="1200" dirty="0">
                <a:solidFill>
                  <a:schemeClr val="tx1"/>
                </a:solidFill>
                <a:effectLst/>
                <a:latin typeface="Segoe UI Light" pitchFamily="34" charset="0"/>
                <a:ea typeface="+mn-ea"/>
                <a:cs typeface="+mn-cs"/>
              </a:rPr>
              <a:t>e main Search API. With one programmatic call, the user can get back relevant webpage, image, video, and news results. It's equivalent to searching in the web vertical in bing.com. The Search APIs provide the power of the Bing Search engine to developers. You get access to many of the latest and greatest capabilities the bing.com site has to offer, in the form of an API. It's the same architecture stack so it's a powerful way to bring the knowledge and intelligence of the search engine to your own experience.</a:t>
            </a:r>
            <a:r>
              <a:rPr lang="en-US" dirty="0"/>
              <a:t> </a:t>
            </a:r>
            <a:r>
              <a:rPr lang="en-US" sz="900" b="0" i="0" u="none" strike="noStrike" kern="1200" dirty="0">
                <a:solidFill>
                  <a:schemeClr val="tx1"/>
                </a:solidFill>
                <a:effectLst/>
                <a:latin typeface="Segoe UI Light" pitchFamily="34" charset="0"/>
                <a:ea typeface="+mn-ea"/>
                <a:cs typeface="+mn-cs"/>
              </a:rPr>
              <a:t>The API is built directly on top of the entire Bing stack- you get the quality, relevance, performance and continuous improvements that the rest of the site gets. Similar to Bing.com- tail queries, or obscure terms may have limited results. We're always working to improve the edge cases though and API users will benefit from that.</a:t>
            </a:r>
            <a:r>
              <a:rPr lang="en-US" dirty="0"/>
              <a:t> </a:t>
            </a:r>
          </a:p>
          <a:p>
            <a:pPr marL="0" lvl="0" indent="0">
              <a:buFont typeface="Arial" panose="020B0604020202020204" pitchFamily="34" charset="0"/>
              <a:buNone/>
            </a:pPr>
            <a:endParaRPr lang="en-US" b="0" baseline="0"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76671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sz="900" kern="1200" dirty="0">
              <a:solidFill>
                <a:schemeClr val="tx1"/>
              </a:solidFill>
              <a:effectLst/>
              <a:latin typeface="Segoe UI Light" pitchFamily="34" charset="0"/>
              <a:ea typeface="+mn-ea"/>
              <a:cs typeface="+mn-cs"/>
            </a:endParaRPr>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5/6/2017 8:37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3</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r>
              <a:rPr lang="en-US" dirty="0"/>
              <a:t>AI Immersion Workshop</a:t>
            </a:r>
          </a:p>
        </p:txBody>
      </p:sp>
    </p:spTree>
    <p:extLst>
      <p:ext uri="{BB962C8B-B14F-4D97-AF65-F5344CB8AC3E}">
        <p14:creationId xmlns:p14="http://schemas.microsoft.com/office/powerpoint/2010/main" val="42746708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AI Immersion Workshop</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27F603A-779F-4101-9B83-C34650C566A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44915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bg1"/>
                </a:solidFill>
              </a:rPr>
              <a:t>Here’s a preview of the Seeing AI app, which started as a research project that helps people who are visually impaired or blind to understand who and what is around them. </a:t>
            </a:r>
          </a:p>
          <a:p>
            <a:endParaRPr lang="en-US" dirty="0"/>
          </a:p>
          <a:p>
            <a:pPr>
              <a:spcAft>
                <a:spcPts val="1800"/>
              </a:spcAft>
            </a:pPr>
            <a:r>
              <a:rPr lang="en-US" sz="900" dirty="0">
                <a:solidFill>
                  <a:schemeClr val="bg1"/>
                </a:solidFill>
              </a:rPr>
              <a:t>The app will use computer vision, image &amp; speech recognition, natural language processing and machine learning from Microsoft Cognitive Services.</a:t>
            </a:r>
            <a:r>
              <a:rPr lang="en-US" sz="900" baseline="0" dirty="0">
                <a:solidFill>
                  <a:schemeClr val="bg1"/>
                </a:solidFill>
              </a:rPr>
              <a:t> </a:t>
            </a:r>
            <a:r>
              <a:rPr lang="en-US" sz="900" dirty="0">
                <a:solidFill>
                  <a:schemeClr val="bg1"/>
                </a:solidFill>
              </a:rPr>
              <a:t>The app is under development and is not available today but it shows what’s possible with the APIs. </a:t>
            </a:r>
          </a:p>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28394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u="sng" kern="1200" dirty="0" err="1">
                <a:solidFill>
                  <a:schemeClr val="tx1"/>
                </a:solidFill>
                <a:effectLst/>
                <a:latin typeface="Segoe UI Light" pitchFamily="34" charset="0"/>
                <a:ea typeface="+mn-ea"/>
                <a:cs typeface="+mn-cs"/>
                <a:hlinkClick r:id="rId3"/>
              </a:rPr>
              <a:t>Vigiglobe</a:t>
            </a:r>
            <a:endParaRPr lang="en-US" sz="900" kern="1200" dirty="0">
              <a:solidFill>
                <a:schemeClr val="tx1"/>
              </a:solidFill>
              <a:effectLst/>
              <a:latin typeface="Segoe UI Light" pitchFamily="34" charset="0"/>
              <a:ea typeface="+mn-ea"/>
              <a:cs typeface="+mn-cs"/>
            </a:endParaRPr>
          </a:p>
          <a:p>
            <a:r>
              <a:rPr lang="en-US" sz="900" kern="1200" dirty="0" err="1">
                <a:solidFill>
                  <a:schemeClr val="tx1"/>
                </a:solidFill>
                <a:effectLst/>
                <a:latin typeface="Segoe UI Light" pitchFamily="34" charset="0"/>
                <a:ea typeface="+mn-ea"/>
                <a:cs typeface="+mn-cs"/>
              </a:rPr>
              <a:t>Vigiglobe</a:t>
            </a:r>
            <a:r>
              <a:rPr lang="en-US" sz="900" kern="1200" dirty="0">
                <a:solidFill>
                  <a:schemeClr val="tx1"/>
                </a:solidFill>
                <a:effectLst/>
                <a:latin typeface="Segoe UI Light" pitchFamily="34" charset="0"/>
                <a:ea typeface="+mn-ea"/>
                <a:cs typeface="+mn-cs"/>
              </a:rPr>
              <a:t> saw an opportunity to analyze not only what was being said on social media, but also the context in which it was being discussed. The team created proprietary algorithms to accurately interpret and contextualize social media messages in real time. Using the Computer Vision API of Microsoft </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11875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u="sng" kern="1200" dirty="0" err="1">
                <a:solidFill>
                  <a:schemeClr val="tx1"/>
                </a:solidFill>
                <a:effectLst/>
                <a:latin typeface="Segoe UI Light" pitchFamily="34" charset="0"/>
                <a:ea typeface="+mn-ea"/>
                <a:cs typeface="+mn-cs"/>
                <a:hlinkClick r:id="rId3"/>
              </a:rPr>
              <a:t>Blucup</a:t>
            </a:r>
            <a:endParaRPr lang="en-US" dirty="0">
              <a:effectLst/>
            </a:endParaRPr>
          </a:p>
          <a:p>
            <a:r>
              <a:rPr lang="en-US" sz="900" kern="1200" dirty="0">
                <a:solidFill>
                  <a:schemeClr val="tx1"/>
                </a:solidFill>
                <a:effectLst/>
                <a:latin typeface="Segoe UI Light" pitchFamily="34" charset="0"/>
                <a:ea typeface="+mn-ea"/>
                <a:cs typeface="+mn-cs"/>
              </a:rPr>
              <a:t>Finland-based </a:t>
            </a:r>
            <a:r>
              <a:rPr lang="en-US" sz="900" kern="1200" dirty="0" err="1">
                <a:solidFill>
                  <a:schemeClr val="tx1"/>
                </a:solidFill>
                <a:effectLst/>
                <a:latin typeface="Segoe UI Light" pitchFamily="34" charset="0"/>
                <a:ea typeface="+mn-ea"/>
                <a:cs typeface="+mn-cs"/>
              </a:rPr>
              <a:t>Blucup</a:t>
            </a:r>
            <a:r>
              <a:rPr lang="en-US" sz="900" kern="1200" dirty="0">
                <a:solidFill>
                  <a:schemeClr val="tx1"/>
                </a:solidFill>
                <a:effectLst/>
                <a:latin typeface="Segoe UI Light" pitchFamily="34" charset="0"/>
                <a:ea typeface="+mn-ea"/>
                <a:cs typeface="+mn-cs"/>
              </a:rPr>
              <a:t> was on a mission to solve a common problem: how can salespeople capture data while on the go? The company developed the Zero Keyboard app, which sales reps could use to record customer information quickly and add it automatically to their customer relationship management (CRM) systems using touch gestures, voice, and pictures. Using the Speech and Computer Vision APIs from Microsoft Cognitive Services, </a:t>
            </a:r>
            <a:r>
              <a:rPr lang="en-US" sz="900" kern="1200" dirty="0" err="1">
                <a:solidFill>
                  <a:schemeClr val="tx1"/>
                </a:solidFill>
                <a:effectLst/>
                <a:latin typeface="Segoe UI Light" pitchFamily="34" charset="0"/>
                <a:ea typeface="+mn-ea"/>
                <a:cs typeface="+mn-cs"/>
              </a:rPr>
              <a:t>Blucup</a:t>
            </a:r>
            <a:r>
              <a:rPr lang="en-US" sz="900" kern="1200" dirty="0">
                <a:solidFill>
                  <a:schemeClr val="tx1"/>
                </a:solidFill>
                <a:effectLst/>
                <a:latin typeface="Segoe UI Light" pitchFamily="34" charset="0"/>
                <a:ea typeface="+mn-ea"/>
                <a:cs typeface="+mn-cs"/>
              </a:rPr>
              <a:t> provides customers with accurate results and rich features—all while speeding development internally.</a:t>
            </a:r>
          </a:p>
          <a:p>
            <a:r>
              <a:rPr lang="en-US" sz="900" kern="1200" dirty="0">
                <a:solidFill>
                  <a:schemeClr val="tx1"/>
                </a:solidFill>
                <a:effectLst/>
                <a:latin typeface="Segoe UI Light" pitchFamily="34" charset="0"/>
                <a:ea typeface="+mn-ea"/>
                <a:cs typeface="+mn-cs"/>
              </a:rPr>
              <a:t>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7371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Pricing – preview pricing is subject to change; free tier available</a:t>
            </a:r>
          </a:p>
          <a:p>
            <a:endParaRPr lang="en-US" dirty="0"/>
          </a:p>
          <a:p>
            <a:r>
              <a:rPr lang="en-US" dirty="0"/>
              <a:t>Access to strong documentation,</a:t>
            </a:r>
            <a:r>
              <a:rPr lang="en-US" baseline="0" dirty="0"/>
              <a:t> sample code and community resources is critical for developers to be able to understand and become users of Cognitive Services.  Customize these links based on your own resources or use the ones listed here.  </a:t>
            </a:r>
          </a:p>
          <a:p>
            <a:endParaRPr lang="en-US" baseline="0" dirty="0"/>
          </a:p>
          <a:p>
            <a:endParaRPr lang="en-US" baseline="0" dirty="0"/>
          </a:p>
          <a:p>
            <a:endParaRPr lang="en-US" dirty="0"/>
          </a:p>
        </p:txBody>
      </p:sp>
    </p:spTree>
    <p:extLst>
      <p:ext uri="{BB962C8B-B14F-4D97-AF65-F5344CB8AC3E}">
        <p14:creationId xmlns:p14="http://schemas.microsoft.com/office/powerpoint/2010/main" val="24181915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044760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AI Immersion Workshop</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27F603A-779F-4101-9B83-C34650C566A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9:1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411837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A17D118-1690-458F-B4D2-F9DA5D6F50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316394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hat are Cognitive Services? </a:t>
            </a:r>
            <a:r>
              <a:rPr lang="en-US" dirty="0"/>
              <a:t>Microsoft Cognitive Services are a new collection of intelligence and knowledge APIs that enable developers to ultimately build smarter apps. </a:t>
            </a:r>
          </a:p>
          <a:p>
            <a:endParaRPr lang="en-US" dirty="0"/>
          </a:p>
          <a:p>
            <a:pPr marL="228600" indent="-228600">
              <a:buFont typeface="+mj-lt"/>
              <a:buAutoNum type="arabicPeriod"/>
            </a:pPr>
            <a:r>
              <a:rPr lang="en-US" i="1" dirty="0"/>
              <a:t>We are bringing together Intelligence (Oxford) and Knowledge from the corpus of the web (Bing) </a:t>
            </a:r>
          </a:p>
          <a:p>
            <a:pPr marL="228600" indent="-228600">
              <a:buFont typeface="+mj-lt"/>
              <a:buAutoNum type="arabicPeriod"/>
            </a:pPr>
            <a:r>
              <a:rPr lang="en-US" i="1" dirty="0"/>
              <a:t>Cognitive = human perception and understanding, enabling your apps to see the world around them, to hear and talk back with the users—to have a human side. </a:t>
            </a:r>
          </a:p>
          <a:p>
            <a:endParaRPr lang="en-US" dirty="0"/>
          </a:p>
          <a:p>
            <a:r>
              <a:rPr lang="en-US" sz="900" b="1" kern="1200" dirty="0">
                <a:solidFill>
                  <a:schemeClr val="tx1"/>
                </a:solidFill>
                <a:effectLst/>
                <a:latin typeface="Segoe UI Light" pitchFamily="34" charset="0"/>
                <a:ea typeface="+mn-ea"/>
                <a:cs typeface="+mn-cs"/>
              </a:rPr>
              <a:t>What are Microsoft Cognitive Services?</a:t>
            </a:r>
            <a:endParaRPr lang="en-US" b="1" dirty="0">
              <a:effectLst/>
            </a:endParaRPr>
          </a:p>
          <a:p>
            <a:r>
              <a:rPr lang="en-US" sz="900" kern="1200" dirty="0">
                <a:solidFill>
                  <a:schemeClr val="tx1"/>
                </a:solidFill>
                <a:effectLst/>
                <a:latin typeface="Segoe UI Light" pitchFamily="34" charset="0"/>
                <a:ea typeface="+mn-ea"/>
                <a:cs typeface="+mn-cs"/>
              </a:rPr>
              <a:t>Microsoft Cognitive Services is a new collection of intelligent APIs that allow systems to see, hear, speak, understand and interpret our needs using natural methods of communication. Developers can use these APIs to make their applications more intelligent, engaging and discoverable. To try Cognitive Services for free, visit </a:t>
            </a:r>
            <a:r>
              <a:rPr lang="en-US" sz="900" u="sng" kern="1200" dirty="0">
                <a:solidFill>
                  <a:schemeClr val="tx1"/>
                </a:solidFill>
                <a:effectLst/>
                <a:latin typeface="Segoe UI Light" pitchFamily="34" charset="0"/>
                <a:ea typeface="+mn-ea"/>
                <a:cs typeface="+mn-cs"/>
                <a:hlinkClick r:id="rId3"/>
              </a:rPr>
              <a:t>www.microsoft.com/cognitive</a:t>
            </a:r>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 </a:t>
            </a:r>
            <a:endParaRPr lang="en-US" dirty="0">
              <a:effectLst/>
            </a:endParaRPr>
          </a:p>
          <a:p>
            <a:r>
              <a:rPr lang="en-US" dirty="0">
                <a:effectLst/>
              </a:rPr>
              <a:t>With Cognitive Services, developers can easily</a:t>
            </a:r>
            <a:r>
              <a:rPr lang="en-US" sz="900" kern="1200" dirty="0">
                <a:solidFill>
                  <a:schemeClr val="tx1"/>
                </a:solidFill>
                <a:effectLst/>
                <a:latin typeface="Segoe UI Light" pitchFamily="34" charset="0"/>
                <a:ea typeface="+mn-ea"/>
                <a:cs typeface="+mn-cs"/>
              </a:rPr>
              <a:t> add intelligent features – such as emotion and sentiment </a:t>
            </a:r>
            <a:r>
              <a:rPr lang="en-US" dirty="0">
                <a:effectLst/>
              </a:rPr>
              <a:t>detection, vision and speech recognition, knowledge, search and language understanding – into their applications. The collection will continuously improve, adding new APIs and updating existing ones.</a:t>
            </a:r>
          </a:p>
          <a:p>
            <a:r>
              <a:rPr lang="en-US" dirty="0">
                <a:effectLst/>
              </a:rPr>
              <a:t> </a:t>
            </a:r>
          </a:p>
          <a:p>
            <a:r>
              <a:rPr lang="en-US" b="1" dirty="0">
                <a:effectLst/>
              </a:rPr>
              <a:t>Cognitive Services includes:</a:t>
            </a:r>
          </a:p>
          <a:p>
            <a:pPr lvl="0"/>
            <a:r>
              <a:rPr lang="en-US" dirty="0">
                <a:effectLst/>
              </a:rPr>
              <a:t>Vision: From faces to feelings, allow apps to understand images and video</a:t>
            </a:r>
          </a:p>
          <a:p>
            <a:pPr lvl="0"/>
            <a:r>
              <a:rPr lang="en-US" dirty="0">
                <a:effectLst/>
              </a:rPr>
              <a:t>Speech: Hear and speak to users by filtering noise, identifying speakers, and understanding intent</a:t>
            </a:r>
          </a:p>
          <a:p>
            <a:pPr lvl="0"/>
            <a:r>
              <a:rPr lang="en-US" dirty="0">
                <a:effectLst/>
              </a:rPr>
              <a:t>Language: Process text and learn how to recognize what users want</a:t>
            </a:r>
          </a:p>
          <a:p>
            <a:pPr lvl="0"/>
            <a:r>
              <a:rPr lang="en-US" dirty="0">
                <a:effectLst/>
              </a:rPr>
              <a:t>Knowledge: Tap into rich knowledge amassed from the web, academia, or your own data</a:t>
            </a:r>
          </a:p>
          <a:p>
            <a:pPr lvl="0"/>
            <a:r>
              <a:rPr lang="en-US" dirty="0">
                <a:effectLst/>
              </a:rPr>
              <a:t>Search: Access billions of web pages, images, videos, and news with the power of Bing APIs</a:t>
            </a:r>
          </a:p>
          <a:p>
            <a:r>
              <a:rPr lang="en-US" dirty="0">
                <a:effectLst/>
              </a:rPr>
              <a:t> </a:t>
            </a:r>
          </a:p>
          <a:p>
            <a:endParaRPr lang="en-US" dirty="0">
              <a:effectLst/>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4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601971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dirty="0"/>
              <a:t>Why choose these APIs?</a:t>
            </a:r>
            <a:r>
              <a:rPr lang="en-US" sz="900" b="1" baseline="0" dirty="0"/>
              <a:t> </a:t>
            </a:r>
            <a:r>
              <a:rPr lang="en-US" sz="900" baseline="0" dirty="0"/>
              <a:t>They </a:t>
            </a:r>
            <a:r>
              <a:rPr lang="en-US" sz="900" dirty="0"/>
              <a:t>work, and it’s easy. </a:t>
            </a:r>
          </a:p>
          <a:p>
            <a:endParaRPr lang="en-US" sz="900" dirty="0"/>
          </a:p>
          <a:p>
            <a:r>
              <a:rPr lang="en-US" sz="900" b="0" dirty="0"/>
              <a:t>Easy:  T</a:t>
            </a:r>
            <a:r>
              <a:rPr lang="en-US" sz="900" dirty="0"/>
              <a:t>he APIs are easy to implement because of the simple REST calls.  Being REST APIs, there’s a common way to implement and you can get started with all of them for free simply by going to one place, one website, www.microsoft.com/cognitive.  (You don’t have to hunt around to different places.)  </a:t>
            </a:r>
          </a:p>
          <a:p>
            <a:endParaRPr lang="en-US" sz="900" dirty="0"/>
          </a:p>
          <a:p>
            <a:r>
              <a:rPr lang="en-US" sz="900" b="0" dirty="0"/>
              <a:t>Flexible:  </a:t>
            </a:r>
            <a:r>
              <a:rPr lang="en-US" sz="900" dirty="0"/>
              <a:t>We’ve got a breadth of intelligence and knowledge APIs so developers will be able to find what intelligence feature they need; and importantly, they all work on whatever language, framework, or platform developers choose. So, </a:t>
            </a:r>
            <a:r>
              <a:rPr lang="en-US" sz="900" dirty="0" err="1"/>
              <a:t>devs</a:t>
            </a:r>
            <a:r>
              <a:rPr lang="en-US" sz="900" dirty="0"/>
              <a:t> can integrated into their apps—iOS, Android, Windows—using their own tools they know and love (such as python or node.js, etc.).</a:t>
            </a:r>
          </a:p>
          <a:p>
            <a:endParaRPr lang="en-US" sz="9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t>Tested:</a:t>
            </a:r>
            <a:r>
              <a:rPr lang="en-US" sz="900" b="0" baseline="0" dirty="0"/>
              <a:t> </a:t>
            </a:r>
            <a:r>
              <a:rPr lang="en-US" sz="900" b="0" dirty="0"/>
              <a:t>Tap into </a:t>
            </a:r>
            <a:r>
              <a:rPr lang="en-US" sz="900" dirty="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900" baseline="0" dirty="0"/>
              <a:t> and Skype</a:t>
            </a:r>
            <a:r>
              <a:rPr lang="en-US" sz="900" dirty="0"/>
              <a:t>.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dirty="0"/>
          </a:p>
        </p:txBody>
      </p:sp>
      <p:sp>
        <p:nvSpPr>
          <p:cNvPr id="4" name="Header Placeholder 3"/>
          <p:cNvSpPr>
            <a:spLocks noGrp="1"/>
          </p:cNvSpPr>
          <p:nvPr>
            <p:ph type="hdr" sz="quarter" idx="10"/>
          </p:nvPr>
        </p:nvSpPr>
        <p:spPr/>
        <p:txBody>
          <a:bodyPr/>
          <a:lstStyle/>
          <a:p>
            <a:r>
              <a:rPr lang="en-US">
                <a:solidFill>
                  <a:prstClr val="black"/>
                </a:solidFill>
              </a:rPr>
              <a:t>Microsoft Build 2016</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6/2017 8: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5877622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I will be speaking on the </a:t>
            </a:r>
            <a:r>
              <a:rPr lang="en-US" sz="900" u="sng" kern="1200" dirty="0">
                <a:solidFill>
                  <a:schemeClr val="tx1"/>
                </a:solidFill>
                <a:effectLst/>
                <a:latin typeface="Segoe UI Light" pitchFamily="34" charset="0"/>
                <a:ea typeface="+mn-ea"/>
                <a:cs typeface="+mn-cs"/>
                <a:hlinkClick r:id="rId3"/>
              </a:rPr>
              <a:t>Microsoft Cognitive Services</a:t>
            </a:r>
            <a:r>
              <a:rPr lang="en-US" sz="900" kern="1200" dirty="0">
                <a:solidFill>
                  <a:schemeClr val="tx1"/>
                </a:solidFill>
                <a:effectLst/>
                <a:latin typeface="Segoe UI Light" pitchFamily="34" charset="0"/>
                <a:ea typeface="+mn-ea"/>
                <a:cs typeface="+mn-cs"/>
              </a:rPr>
              <a:t>.  The Cognitive Services are a set of APIs that provide cognitive functionality like object recognition, emotion detection, facial identification, speech understanding, sentiment analysis, text analytics, and more.  Previously, you would need advanced knowledge of machine learning in order to perform such tasks.  But Microsoft Research has used powerful machine learning algorithms to solve these commonly-used scenarios, and make them available with a simple API call.  For example, you can send a picture to our facial detection API, and we will return age, gender, head pose, smile, facial hair information, facial bounding box, and 27 landmarks for each face in the imag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Imagine the scenarios this enables!  In retail or at a trade show, a company could use emotion detection to see how people are reacting to their products.  Facial identification could be used to find missing children quickly at an amusement park.  The facial APIs could determine the male/female ratio at a nightclub, as well as identifying VIP guests or banned guests.  The language understanding service can allow automated support bots to understand natural language.  The object recognition capabilities can enable a blind person to read a menu in a restaurant or have his surroundings described to him.  </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4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40507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u="sng" kern="1200" dirty="0">
                <a:solidFill>
                  <a:schemeClr val="tx1"/>
                </a:solidFill>
                <a:effectLst/>
                <a:latin typeface="Segoe UI Light" pitchFamily="34" charset="0"/>
                <a:ea typeface="+mn-ea"/>
                <a:cs typeface="+mn-cs"/>
                <a:hlinkClick r:id="rId3"/>
              </a:rPr>
              <a:t>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4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79368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example</a:t>
            </a:r>
            <a:r>
              <a:rPr lang="en-US" baseline="0" dirty="0"/>
              <a:t> is calling Vision API to get tags and description.  </a:t>
            </a:r>
            <a:endParaRPr lang="en-US" dirty="0"/>
          </a:p>
          <a:p>
            <a:endParaRPr lang="en-US" dirty="0"/>
          </a:p>
          <a:p>
            <a:r>
              <a:rPr lang="en-US" dirty="0"/>
              <a:t>https://www.microsoft.com/cognitive-services/en-us/computer-vision-api/documentation/HowToCallVisionAPI</a:t>
            </a:r>
          </a:p>
          <a:p>
            <a:endParaRPr lang="en-US" dirty="0"/>
          </a:p>
          <a:p>
            <a:r>
              <a:rPr lang="en-US" dirty="0">
                <a:effectLst/>
              </a:rPr>
              <a:t>POST https://api.projectoxford.ai/vision/v1.0/analyze?visualFeatures=Description,Tags&amp;subscription-key=&lt;Your subscription key&gt;</a:t>
            </a:r>
          </a:p>
          <a:p>
            <a:endParaRPr lang="en-US" dirty="0">
              <a:effectLst/>
            </a:endParaRPr>
          </a:p>
          <a:p>
            <a:r>
              <a:rPr lang="en-US" baseline="0" dirty="0">
                <a:effectLst/>
              </a:rPr>
              <a:t>Security: can do this without subscription key in the URL (in header instead)</a:t>
            </a:r>
            <a:endParaRPr lang="en-US" dirty="0">
              <a:effectLst/>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achine Learning &amp; Data Science Conference</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4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12084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2017 8:5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964387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tretch>
            <a:fillRect/>
          </a:stretch>
        </p:blipFill>
        <p:spPr>
          <a:xfrm>
            <a:off x="1346861" y="1654778"/>
            <a:ext cx="11089614" cy="3989767"/>
          </a:xfrm>
          <a:prstGeom prst="rect">
            <a:avLst/>
          </a:prstGeom>
        </p:spPr>
      </p:pic>
      <p:sp>
        <p:nvSpPr>
          <p:cNvPr id="15" name="Rectangle 14"/>
          <p:cNvSpPr/>
          <p:nvPr userDrawn="1"/>
        </p:nvSpPr>
        <p:spPr bwMode="auto">
          <a:xfrm>
            <a:off x="1112837" y="1654778"/>
            <a:ext cx="7162800" cy="4038600"/>
          </a:xfrm>
          <a:prstGeom prst="rect">
            <a:avLst/>
          </a:prstGeom>
          <a:gradFill>
            <a:gsLst>
              <a:gs pos="44000">
                <a:srgbClr val="FFFFFF"/>
              </a:gs>
              <a:gs pos="100000">
                <a:srgbClr val="FFFFFF">
                  <a:alpha val="0"/>
                </a:srgbClr>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TextBox 10"/>
          <p:cNvSpPr txBox="1"/>
          <p:nvPr userDrawn="1"/>
        </p:nvSpPr>
        <p:spPr bwMode="black">
          <a:xfrm>
            <a:off x="294215" y="2659062"/>
            <a:ext cx="11887200" cy="1126462"/>
          </a:xfrm>
          <a:prstGeom prst="rect">
            <a:avLst/>
          </a:prstGeom>
          <a:noFill/>
        </p:spPr>
        <p:txBody>
          <a:bodyPr wrap="square" lIns="137160" tIns="146304" rIns="137160" bIns="146304" rtlCol="0">
            <a:spAutoFit/>
          </a:bodyPr>
          <a:lstStyle/>
          <a:p>
            <a:pPr>
              <a:lnSpc>
                <a:spcPct val="90000"/>
              </a:lnSpc>
              <a:spcAft>
                <a:spcPts val="600"/>
              </a:spcAft>
            </a:pPr>
            <a:r>
              <a:rPr lang="en-US" sz="6000" dirty="0">
                <a:gradFill>
                  <a:gsLst>
                    <a:gs pos="5435">
                      <a:schemeClr val="tx1"/>
                    </a:gs>
                    <a:gs pos="15000">
                      <a:schemeClr val="tx1"/>
                    </a:gs>
                  </a:gsLst>
                  <a:lin ang="5400000" scaled="0"/>
                </a:gradFill>
                <a:latin typeface="Segoe UI Light"/>
              </a:rPr>
              <a:t>AI Immersion Workshop</a:t>
            </a:r>
          </a:p>
        </p:txBody>
      </p:sp>
      <p:sp>
        <p:nvSpPr>
          <p:cNvPr id="12" name="TextBox 11"/>
          <p:cNvSpPr txBox="1"/>
          <p:nvPr userDrawn="1"/>
        </p:nvSpPr>
        <p:spPr bwMode="black">
          <a:xfrm>
            <a:off x="294215" y="3649662"/>
            <a:ext cx="10195024" cy="738664"/>
          </a:xfrm>
          <a:prstGeom prst="rect">
            <a:avLst/>
          </a:prstGeom>
          <a:noFill/>
        </p:spPr>
        <p:txBody>
          <a:bodyPr wrap="square" lIns="137160" tIns="146304" rIns="137160" bIns="146304" rtlCol="0">
            <a:spAutoFit/>
          </a:bodyPr>
          <a:lstStyle/>
          <a:p>
            <a:pPr>
              <a:lnSpc>
                <a:spcPct val="90000"/>
              </a:lnSpc>
              <a:spcAft>
                <a:spcPts val="600"/>
              </a:spcAft>
            </a:pPr>
            <a:r>
              <a:rPr lang="en-US" sz="3200" dirty="0">
                <a:gradFill>
                  <a:gsLst>
                    <a:gs pos="5435">
                      <a:schemeClr val="tx1"/>
                    </a:gs>
                    <a:gs pos="15000">
                      <a:schemeClr val="tx1"/>
                    </a:gs>
                  </a:gsLst>
                  <a:lin ang="5400000" scaled="0"/>
                </a:gradFill>
                <a:latin typeface="Segoe UI Light"/>
              </a:rPr>
              <a:t>May 9, 2017</a:t>
            </a:r>
            <a:r>
              <a:rPr lang="en-US" sz="3200" baseline="0" dirty="0">
                <a:gradFill>
                  <a:gsLst>
                    <a:gs pos="5435">
                      <a:schemeClr val="tx1"/>
                    </a:gs>
                    <a:gs pos="15000">
                      <a:schemeClr val="tx1"/>
                    </a:gs>
                  </a:gsLst>
                  <a:lin ang="5400000" scaled="0"/>
                </a:gradFill>
                <a:latin typeface="Segoe UI Light"/>
              </a:rPr>
              <a:t> </a:t>
            </a:r>
            <a:r>
              <a:rPr lang="en-US" sz="3200" dirty="0">
                <a:gradFill>
                  <a:gsLst>
                    <a:gs pos="5435">
                      <a:schemeClr val="tx1"/>
                    </a:gs>
                    <a:gs pos="15000">
                      <a:schemeClr val="tx1"/>
                    </a:gs>
                  </a:gsLst>
                  <a:lin ang="5400000" scaled="0"/>
                </a:gradFill>
                <a:latin typeface="Segoe UI Light"/>
              </a:rPr>
              <a:t>| W Seattle Hotel, Seattle, WA</a:t>
            </a:r>
          </a:p>
        </p:txBody>
      </p:sp>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22805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Slide-Picture">
    <p:bg>
      <p:bgPr>
        <a:solidFill>
          <a:schemeClr val="accent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5761038" y="-1"/>
            <a:ext cx="6675437" cy="6994525"/>
          </a:xfrm>
          <a:blipFill>
            <a:blip r:embed="rId2"/>
            <a:stretch>
              <a:fillRect/>
            </a:stretch>
          </a:blipFill>
        </p:spPr>
        <p:txBody>
          <a:bodyPr/>
          <a:lstStyle>
            <a:lvl1pPr marL="0" indent="0">
              <a:buNone/>
              <a:defRPr baseline="0"/>
            </a:lvl1pPr>
          </a:lstStyle>
          <a:p>
            <a:r>
              <a:rPr lang="en-US" dirty="0"/>
              <a:t> </a:t>
            </a:r>
          </a:p>
        </p:txBody>
      </p:sp>
      <p:sp>
        <p:nvSpPr>
          <p:cNvPr id="7" name="Text Placeholder 6"/>
          <p:cNvSpPr>
            <a:spLocks noGrp="1"/>
          </p:cNvSpPr>
          <p:nvPr>
            <p:ph type="body" sz="quarter" idx="11" hasCustomPrompt="1"/>
          </p:nvPr>
        </p:nvSpPr>
        <p:spPr>
          <a:xfrm>
            <a:off x="274638" y="2963861"/>
            <a:ext cx="5486399" cy="1066800"/>
          </a:xfrm>
        </p:spPr>
        <p:txBody>
          <a:bodyPr lIns="182880" anchor="ctr">
            <a:noAutofit/>
          </a:bodyPr>
          <a:lstStyle>
            <a:lvl1pPr marL="0" indent="0">
              <a:buNone/>
              <a:defRPr sz="5400">
                <a:solidFill>
                  <a:schemeClr val="bg1"/>
                </a:solidFill>
                <a:latin typeface="+mj-lt"/>
              </a:defRPr>
            </a:lvl1pPr>
          </a:lstStyle>
          <a:p>
            <a:pPr lvl="0"/>
            <a:r>
              <a:rPr lang="en-US" dirty="0"/>
              <a:t>Title</a:t>
            </a:r>
          </a:p>
        </p:txBody>
      </p:sp>
    </p:spTree>
    <p:extLst>
      <p:ext uri="{BB962C8B-B14F-4D97-AF65-F5344CB8AC3E}">
        <p14:creationId xmlns:p14="http://schemas.microsoft.com/office/powerpoint/2010/main" val="3181332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63" presetClass="path" presetSubtype="0" decel="100000" fill="hold" grpId="1" nodeType="withEffect">
                                  <p:stCondLst>
                                    <p:cond delay="0"/>
                                  </p:stCondLst>
                                  <p:childTnLst>
                                    <p:animMotion origin="layout" path="M -4.7613E-6 0 L 0.07302 0 " pathEditMode="relative" rAng="0" ptsTypes="AA">
                                      <p:cBhvr>
                                        <p:cTn id="9" dur="750" spd="-100000" fill="hold"/>
                                        <p:tgtEl>
                                          <p:spTgt spid="5"/>
                                        </p:tgtEl>
                                        <p:attrNameLst>
                                          <p:attrName>ppt_x</p:attrName>
                                          <p:attrName>ppt_y</p:attrName>
                                        </p:attrNameLst>
                                      </p:cBhvr>
                                      <p:rCtr x="3651" y="0"/>
                                    </p:animMotion>
                                  </p:childTnLst>
                                </p:cTn>
                              </p:par>
                              <p:par>
                                <p:cTn id="10" presetID="10" presetClass="entr" presetSubtype="0" fill="hold" grpId="0" nodeType="withEffect">
                                  <p:stCondLst>
                                    <p:cond delay="25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par>
                                <p:cTn id="13" presetID="63" presetClass="path" presetSubtype="0" decel="100000" fill="hold" grpId="1" nodeType="withEffect">
                                  <p:stCondLst>
                                    <p:cond delay="0"/>
                                  </p:stCondLst>
                                  <p:childTnLst>
                                    <p:animMotion origin="layout" path="M 0.00996 0 L 0.07735 0 " pathEditMode="relative" rAng="0" ptsTypes="AA">
                                      <p:cBhvr>
                                        <p:cTn id="14" dur="750" spd="-100000" fill="hold"/>
                                        <p:tgtEl>
                                          <p:spTgt spid="7">
                                            <p:txEl>
                                              <p:pRg st="0" end="0"/>
                                            </p:txEl>
                                          </p:spTgt>
                                        </p:tgtEl>
                                        <p:attrNameLst>
                                          <p:attrName>ppt_x</p:attrName>
                                          <p:attrName>ppt_y</p:attrName>
                                        </p:attrNameLst>
                                      </p:cBhvr>
                                      <p:rCtr x="33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7" grpId="0" build="p">
        <p:tmplLst>
          <p:tmpl lvl="1">
            <p:tnLst>
              <p:par>
                <p:cTn presetID="10" presetClass="entr" presetSubtype="0" fill="hold" nodeType="withEffect">
                  <p:stCondLst>
                    <p:cond delay="25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7" grpId="1" build="p">
        <p:tmplLst>
          <p:tmpl lvl="1">
            <p:tnLst>
              <p:par>
                <p:cTn presetID="63" presetClass="path" presetSubtype="0" decel="100000" fill="hold" nodeType="withEffect">
                  <p:stCondLst>
                    <p:cond delay="0"/>
                  </p:stCondLst>
                  <p:childTnLst>
                    <p:animMotion origin="layout" path="M 0.00996 0 L 0.07735 0 " pathEditMode="relative" rAng="0" ptsTypes="AA">
                      <p:cBhvr>
                        <p:cTn dur="750" spd="-100000" fill="hold"/>
                        <p:tgtEl>
                          <p:spTgt spid="7"/>
                        </p:tgtEl>
                        <p:attrNameLst>
                          <p:attrName>ppt_x</p:attrName>
                          <p:attrName>ppt_y</p:attrName>
                        </p:attrNameLst>
                      </p:cBhvr>
                      <p:rCtr x="3370" y="0"/>
                    </p:animMotion>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stretch>
            <a:fillRect/>
          </a:stretch>
        </p:blipFill>
        <p:spPr>
          <a:xfrm>
            <a:off x="6316266" y="0"/>
            <a:ext cx="6120209" cy="6994524"/>
          </a:xfrm>
          <a:prstGeom prst="rect">
            <a:avLst/>
          </a:prstGeom>
        </p:spPr>
      </p:pic>
      <p:sp>
        <p:nvSpPr>
          <p:cNvPr id="9" name="Title 1"/>
          <p:cNvSpPr>
            <a:spLocks noGrp="1"/>
          </p:cNvSpPr>
          <p:nvPr>
            <p:ph type="title" hasCustomPrompt="1"/>
          </p:nvPr>
        </p:nvSpPr>
        <p:spPr>
          <a:xfrm>
            <a:off x="274702" y="2125678"/>
            <a:ext cx="73151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518501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Slide-Teal">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3040063"/>
            <a:ext cx="4572195" cy="914399"/>
          </a:xfrm>
        </p:spPr>
        <p:txBody>
          <a:bodyPr lIns="182880" rIns="91440" anchor="ctr">
            <a:noAutofit/>
          </a:bodyPr>
          <a:lstStyle>
            <a:lvl1pPr marL="0" indent="0">
              <a:buNone/>
              <a:defRPr sz="5400">
                <a:solidFill>
                  <a:schemeClr val="accent1"/>
                </a:solidFill>
                <a:latin typeface="+mj-lt"/>
              </a:defRPr>
            </a:lvl1pPr>
          </a:lstStyle>
          <a:p>
            <a:pPr lvl="0"/>
            <a:r>
              <a:rPr lang="en-US" dirty="0"/>
              <a:t>Title</a:t>
            </a:r>
          </a:p>
        </p:txBody>
      </p:sp>
      <p:sp>
        <p:nvSpPr>
          <p:cNvPr id="7" name="Content Placeholder 6"/>
          <p:cNvSpPr>
            <a:spLocks noGrp="1"/>
          </p:cNvSpPr>
          <p:nvPr>
            <p:ph sz="quarter" idx="11" hasCustomPrompt="1"/>
          </p:nvPr>
        </p:nvSpPr>
        <p:spPr>
          <a:xfrm>
            <a:off x="4860972" y="-1"/>
            <a:ext cx="7575503" cy="6994525"/>
          </a:xfrm>
          <a:solidFill>
            <a:schemeClr val="accent1"/>
          </a:solidFill>
        </p:spPr>
        <p:txBody>
          <a:bodyPr lIns="274320" rIns="274320" anchor="ctr">
            <a:noAutofit/>
          </a:bodyPr>
          <a:lstStyle>
            <a:lvl1pPr marL="0" indent="0">
              <a:buNone/>
              <a:defRPr sz="2400" baseline="0"/>
            </a:lvl1pPr>
          </a:lstStyle>
          <a:p>
            <a:pPr lvl="0"/>
            <a:r>
              <a:rPr lang="en-US" dirty="0"/>
              <a:t> </a:t>
            </a:r>
          </a:p>
        </p:txBody>
      </p:sp>
    </p:spTree>
    <p:extLst>
      <p:ext uri="{BB962C8B-B14F-4D97-AF65-F5344CB8AC3E}">
        <p14:creationId xmlns:p14="http://schemas.microsoft.com/office/powerpoint/2010/main" val="23587755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0685839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_Teal">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13992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88446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_Dark Gra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54930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60226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prstClr val="white">
                        <a:alpha val="50000"/>
                      </a:prstClr>
                    </a:gs>
                    <a:gs pos="86000">
                      <a:prstClr val="white">
                        <a:alpha val="50000"/>
                      </a:prst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1973909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solidFill>
          <a:srgbClr val="52525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l="41116" r="2514"/>
          <a:stretch/>
        </p:blipFill>
        <p:spPr>
          <a:xfrm rot="5400000">
            <a:off x="2713036" y="-2713037"/>
            <a:ext cx="7010400" cy="1243647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 y="1612233"/>
            <a:ext cx="12436478" cy="2911642"/>
          </a:xfrm>
          <a:prstGeom prst="rect">
            <a:avLst/>
          </a:prstGeom>
          <a:solidFill>
            <a:schemeClr val="accent6">
              <a:alpha val="7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TextBox 6"/>
          <p:cNvSpPr txBox="1"/>
          <p:nvPr userDrawn="1"/>
        </p:nvSpPr>
        <p:spPr bwMode="white">
          <a:xfrm>
            <a:off x="229667" y="1856411"/>
            <a:ext cx="11887200" cy="1209562"/>
          </a:xfrm>
          <a:prstGeom prst="rect">
            <a:avLst/>
          </a:prstGeom>
          <a:noFill/>
        </p:spPr>
        <p:txBody>
          <a:bodyPr wrap="square" lIns="182880" tIns="146304" rIns="182880" bIns="146304" rtlCol="0">
            <a:spAutoFit/>
          </a:bodyPr>
          <a:lstStyle/>
          <a:p>
            <a:pPr>
              <a:lnSpc>
                <a:spcPct val="90000"/>
              </a:lnSpc>
              <a:spcAft>
                <a:spcPts val="600"/>
              </a:spcAft>
            </a:pPr>
            <a:r>
              <a:rPr lang="en-US" sz="6600" dirty="0">
                <a:gradFill>
                  <a:gsLst>
                    <a:gs pos="2917">
                      <a:schemeClr val="tx1"/>
                    </a:gs>
                    <a:gs pos="30000">
                      <a:schemeClr val="tx1"/>
                    </a:gs>
                  </a:gsLst>
                  <a:lin ang="5400000" scaled="0"/>
                </a:gradFill>
                <a:latin typeface="+mj-lt"/>
              </a:rPr>
              <a:t>Microsoft</a:t>
            </a:r>
            <a:r>
              <a:rPr lang="en-US" sz="6600" baseline="0" dirty="0">
                <a:gradFill>
                  <a:gsLst>
                    <a:gs pos="2917">
                      <a:schemeClr val="tx1"/>
                    </a:gs>
                    <a:gs pos="30000">
                      <a:schemeClr val="tx1"/>
                    </a:gs>
                  </a:gsLst>
                  <a:lin ang="5400000" scaled="0"/>
                </a:gradFill>
                <a:latin typeface="+mj-lt"/>
              </a:rPr>
              <a:t> Data Science Summit</a:t>
            </a:r>
            <a:endParaRPr lang="en-US" sz="6600" dirty="0">
              <a:gradFill>
                <a:gsLst>
                  <a:gs pos="2917">
                    <a:schemeClr val="tx1"/>
                  </a:gs>
                  <a:gs pos="30000">
                    <a:schemeClr val="tx1"/>
                  </a:gs>
                </a:gsLst>
                <a:lin ang="5400000" scaled="0"/>
              </a:gradFill>
              <a:latin typeface="+mj-lt"/>
            </a:endParaRPr>
          </a:p>
        </p:txBody>
      </p:sp>
      <p:sp>
        <p:nvSpPr>
          <p:cNvPr id="11" name="TextBox 10"/>
          <p:cNvSpPr txBox="1"/>
          <p:nvPr userDrawn="1"/>
        </p:nvSpPr>
        <p:spPr bwMode="white">
          <a:xfrm>
            <a:off x="278698" y="3423809"/>
            <a:ext cx="10195024" cy="794064"/>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latin typeface="+mj-lt"/>
              </a:rPr>
              <a:t>Sept 26 – 27</a:t>
            </a:r>
            <a:r>
              <a:rPr lang="en-US" sz="3600" baseline="0" dirty="0">
                <a:gradFill>
                  <a:gsLst>
                    <a:gs pos="2917">
                      <a:schemeClr val="tx1"/>
                    </a:gs>
                    <a:gs pos="30000">
                      <a:schemeClr val="tx1"/>
                    </a:gs>
                  </a:gsLst>
                  <a:lin ang="5400000" scaled="0"/>
                </a:gradFill>
                <a:latin typeface="+mj-lt"/>
              </a:rPr>
              <a:t> | Atlanta, GA</a:t>
            </a:r>
            <a:endParaRPr lang="en-US" sz="3600" dirty="0">
              <a:gradFill>
                <a:gsLst>
                  <a:gs pos="2917">
                    <a:schemeClr val="tx1"/>
                  </a:gs>
                  <a:gs pos="30000">
                    <a:schemeClr val="tx1"/>
                  </a:gs>
                </a:gsLst>
                <a:lin ang="5400000" scaled="0"/>
              </a:gradFill>
              <a:latin typeface="+mj-lt"/>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95253" y="489050"/>
            <a:ext cx="1552931" cy="332660"/>
          </a:xfrm>
          <a:prstGeom prst="rect">
            <a:avLst/>
          </a:prstGeom>
        </p:spPr>
      </p:pic>
    </p:spTree>
    <p:extLst>
      <p:ext uri="{BB962C8B-B14F-4D97-AF65-F5344CB8AC3E}">
        <p14:creationId xmlns:p14="http://schemas.microsoft.com/office/powerpoint/2010/main" val="3468440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Black">
    <p:bg bwMode="gray">
      <p:bgPr>
        <a:solidFill>
          <a:schemeClr val="accent6">
            <a:lumMod val="85000"/>
            <a:lumOff val="15000"/>
          </a:schemeClr>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a:srcRect l="41116" r="2514"/>
          <a:stretch/>
        </p:blipFill>
        <p:spPr>
          <a:xfrm rot="5400000">
            <a:off x="2713036" y="-2713037"/>
            <a:ext cx="7010400" cy="12436475"/>
          </a:xfrm>
          <a:prstGeom prst="rect">
            <a:avLst/>
          </a:prstGeom>
        </p:spPr>
      </p:pic>
      <p:sp>
        <p:nvSpPr>
          <p:cNvPr id="15" name="Rectangle 14"/>
          <p:cNvSpPr/>
          <p:nvPr userDrawn="1"/>
        </p:nvSpPr>
        <p:spPr bwMode="auto">
          <a:xfrm>
            <a:off x="-1" y="1"/>
            <a:ext cx="8299005" cy="6994524"/>
          </a:xfrm>
          <a:prstGeom prst="rect">
            <a:avLst/>
          </a:prstGeom>
          <a:solidFill>
            <a:schemeClr val="accent6">
              <a:alpha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274638" y="2023254"/>
            <a:ext cx="7467599" cy="1791260"/>
          </a:xfrm>
          <a:prstGeom prst="rect">
            <a:avLst/>
          </a:prstGeom>
          <a:noFill/>
        </p:spPr>
        <p:txBody>
          <a:bodyPr wrap="squar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a:t>
            </a:r>
            <a:r>
              <a:rPr lang="en-US" sz="5400" baseline="0" dirty="0">
                <a:gradFill>
                  <a:gsLst>
                    <a:gs pos="2917">
                      <a:schemeClr val="tx1"/>
                    </a:gs>
                    <a:gs pos="30000">
                      <a:schemeClr val="tx1"/>
                    </a:gs>
                  </a:gsLst>
                  <a:lin ang="5400000" scaled="0"/>
                </a:gradFill>
                <a:latin typeface="+mj-lt"/>
              </a:rPr>
              <a:t> Data </a:t>
            </a:r>
            <a:br>
              <a:rPr lang="en-US" sz="5400" baseline="0" dirty="0">
                <a:gradFill>
                  <a:gsLst>
                    <a:gs pos="2917">
                      <a:schemeClr val="tx1"/>
                    </a:gs>
                    <a:gs pos="30000">
                      <a:schemeClr val="tx1"/>
                    </a:gs>
                  </a:gsLst>
                  <a:lin ang="5400000" scaled="0"/>
                </a:gradFill>
                <a:latin typeface="+mj-lt"/>
              </a:rPr>
            </a:br>
            <a:r>
              <a:rPr lang="en-US" sz="5400" baseline="0" dirty="0">
                <a:gradFill>
                  <a:gsLst>
                    <a:gs pos="2917">
                      <a:schemeClr val="tx1"/>
                    </a:gs>
                    <a:gs pos="30000">
                      <a:schemeClr val="tx1"/>
                    </a:gs>
                  </a:gsLst>
                  <a:lin ang="5400000" scaled="0"/>
                </a:gradFill>
                <a:latin typeface="+mj-lt"/>
              </a:rPr>
              <a:t>Science Summit</a:t>
            </a:r>
            <a:endParaRPr lang="en-US" sz="5400" dirty="0">
              <a:gradFill>
                <a:gsLst>
                  <a:gs pos="2917">
                    <a:schemeClr val="tx1"/>
                  </a:gs>
                  <a:gs pos="30000">
                    <a:schemeClr val="tx1"/>
                  </a:gs>
                </a:gsLst>
                <a:lin ang="5400000" scaled="0"/>
              </a:gradFill>
              <a:latin typeface="+mj-lt"/>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503237" y="449262"/>
            <a:ext cx="1552931" cy="332660"/>
          </a:xfrm>
          <a:prstGeom prst="rect">
            <a:avLst/>
          </a:prstGeom>
        </p:spPr>
      </p:pic>
      <p:sp>
        <p:nvSpPr>
          <p:cNvPr id="11" name="TextBox 10"/>
          <p:cNvSpPr txBox="1"/>
          <p:nvPr userDrawn="1"/>
        </p:nvSpPr>
        <p:spPr bwMode="white">
          <a:xfrm>
            <a:off x="292673" y="3972357"/>
            <a:ext cx="10195024" cy="738664"/>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latin typeface="+mj-lt"/>
              </a:rPr>
              <a:t>Sept 26 – 27</a:t>
            </a:r>
            <a:r>
              <a:rPr lang="en-US" sz="3200" baseline="0" dirty="0">
                <a:gradFill>
                  <a:gsLst>
                    <a:gs pos="2917">
                      <a:schemeClr val="tx1"/>
                    </a:gs>
                    <a:gs pos="30000">
                      <a:schemeClr val="tx1"/>
                    </a:gs>
                  </a:gsLst>
                  <a:lin ang="5400000" scaled="0"/>
                </a:gradFill>
                <a:latin typeface="+mj-lt"/>
              </a:rPr>
              <a:t> | Atlanta, GA</a:t>
            </a:r>
            <a:endParaRPr lang="en-US" sz="32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3828669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accent6">
            <a:lumMod val="85000"/>
            <a:lumOff val="15000"/>
          </a:schemeClr>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srcRect l="41116" r="2514"/>
          <a:stretch/>
        </p:blipFill>
        <p:spPr>
          <a:xfrm rot="5400000">
            <a:off x="2713036" y="-2713037"/>
            <a:ext cx="7010400" cy="12436475"/>
          </a:xfrm>
          <a:prstGeom prst="rect">
            <a:avLst/>
          </a:prstGeom>
        </p:spPr>
      </p:pic>
      <p:sp>
        <p:nvSpPr>
          <p:cNvPr id="9" name="Rectangle 8"/>
          <p:cNvSpPr/>
          <p:nvPr userDrawn="1"/>
        </p:nvSpPr>
        <p:spPr bwMode="auto">
          <a:xfrm>
            <a:off x="-1" y="1"/>
            <a:ext cx="8299005" cy="6994524"/>
          </a:xfrm>
          <a:prstGeom prst="rect">
            <a:avLst/>
          </a:prstGeom>
          <a:solidFill>
            <a:schemeClr val="accent2">
              <a:alpha val="9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userDrawn="1"/>
        </p:nvSpPr>
        <p:spPr bwMode="white">
          <a:xfrm>
            <a:off x="274638" y="2023254"/>
            <a:ext cx="7467599" cy="1791260"/>
          </a:xfrm>
          <a:prstGeom prst="rect">
            <a:avLst/>
          </a:prstGeom>
          <a:noFill/>
        </p:spPr>
        <p:txBody>
          <a:bodyPr wrap="square" lIns="182880" tIns="146304" rIns="182880" bIns="146304" rtlCol="0">
            <a:spAutoFit/>
          </a:bodyPr>
          <a:lstStyle/>
          <a:p>
            <a:pPr>
              <a:lnSpc>
                <a:spcPct val="90000"/>
              </a:lnSpc>
              <a:spcAft>
                <a:spcPts val="600"/>
              </a:spcAft>
            </a:pPr>
            <a:r>
              <a:rPr lang="en-US" sz="5400" baseline="0" dirty="0">
                <a:gradFill>
                  <a:gsLst>
                    <a:gs pos="2917">
                      <a:schemeClr val="tx1"/>
                    </a:gs>
                    <a:gs pos="30000">
                      <a:schemeClr val="tx1"/>
                    </a:gs>
                  </a:gsLst>
                  <a:lin ang="5400000" scaled="0"/>
                </a:gradFill>
                <a:latin typeface="+mj-lt"/>
              </a:rPr>
              <a:t>Cognitive Services: Making AI Easy</a:t>
            </a:r>
            <a:endParaRPr lang="en-US" sz="5400" dirty="0">
              <a:gradFill>
                <a:gsLst>
                  <a:gs pos="2917">
                    <a:schemeClr val="tx1"/>
                  </a:gs>
                  <a:gs pos="30000">
                    <a:schemeClr val="tx1"/>
                  </a:gs>
                </a:gsLst>
                <a:lin ang="5400000" scaled="0"/>
              </a:gradFill>
              <a:latin typeface="+mj-lt"/>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503237" y="449262"/>
            <a:ext cx="1552931" cy="332660"/>
          </a:xfrm>
          <a:prstGeom prst="rect">
            <a:avLst/>
          </a:prstGeom>
        </p:spPr>
      </p:pic>
      <p:sp>
        <p:nvSpPr>
          <p:cNvPr id="11" name="TextBox 10"/>
          <p:cNvSpPr txBox="1"/>
          <p:nvPr userDrawn="1"/>
        </p:nvSpPr>
        <p:spPr bwMode="white">
          <a:xfrm>
            <a:off x="292673" y="3972357"/>
            <a:ext cx="10195024" cy="2819233"/>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latin typeface="+mj-lt"/>
              </a:rPr>
              <a:t>Jennifer</a:t>
            </a:r>
            <a:r>
              <a:rPr lang="en-US" sz="3200" baseline="0" dirty="0">
                <a:gradFill>
                  <a:gsLst>
                    <a:gs pos="2917">
                      <a:schemeClr val="tx1"/>
                    </a:gs>
                    <a:gs pos="30000">
                      <a:schemeClr val="tx1"/>
                    </a:gs>
                  </a:gsLst>
                  <a:lin ang="5400000" scaled="0"/>
                </a:gradFill>
                <a:latin typeface="+mj-lt"/>
              </a:rPr>
              <a:t> Marsman</a:t>
            </a:r>
          </a:p>
          <a:p>
            <a:pPr>
              <a:lnSpc>
                <a:spcPct val="90000"/>
              </a:lnSpc>
              <a:spcAft>
                <a:spcPts val="600"/>
              </a:spcAft>
            </a:pPr>
            <a:r>
              <a:rPr lang="en-US" sz="3200" baseline="0" dirty="0">
                <a:gradFill>
                  <a:gsLst>
                    <a:gs pos="2917">
                      <a:schemeClr val="tx1"/>
                    </a:gs>
                    <a:gs pos="30000">
                      <a:schemeClr val="tx1"/>
                    </a:gs>
                  </a:gsLst>
                  <a:lin ang="5400000" scaled="0"/>
                </a:gradFill>
                <a:latin typeface="+mj-lt"/>
              </a:rPr>
              <a:t>Principal Software Development Engineer</a:t>
            </a:r>
          </a:p>
          <a:p>
            <a:pPr>
              <a:lnSpc>
                <a:spcPct val="90000"/>
              </a:lnSpc>
              <a:spcAft>
                <a:spcPts val="600"/>
              </a:spcAft>
            </a:pPr>
            <a:r>
              <a:rPr lang="en-US" sz="3200" baseline="0" dirty="0">
                <a:gradFill>
                  <a:gsLst>
                    <a:gs pos="2917">
                      <a:schemeClr val="tx1"/>
                    </a:gs>
                    <a:gs pos="30000">
                      <a:schemeClr val="tx1"/>
                    </a:gs>
                  </a:gsLst>
                  <a:lin ang="5400000" scaled="0"/>
                </a:gradFill>
                <a:latin typeface="+mj-lt"/>
              </a:rPr>
              <a:t>Microsoft Corporation</a:t>
            </a:r>
          </a:p>
          <a:p>
            <a:pPr>
              <a:lnSpc>
                <a:spcPct val="90000"/>
              </a:lnSpc>
              <a:spcAft>
                <a:spcPts val="600"/>
              </a:spcAft>
            </a:pPr>
            <a:r>
              <a:rPr lang="en-US" sz="3200" baseline="0" dirty="0">
                <a:gradFill>
                  <a:gsLst>
                    <a:gs pos="2917">
                      <a:schemeClr val="tx1"/>
                    </a:gs>
                    <a:gs pos="30000">
                      <a:schemeClr val="tx1"/>
                    </a:gs>
                  </a:gsLst>
                  <a:lin ang="5400000" scaled="0"/>
                </a:gradFill>
                <a:latin typeface="+mj-lt"/>
              </a:rPr>
              <a:t>http://blogs.msdn.microsoft.com/jennifer</a:t>
            </a:r>
          </a:p>
          <a:p>
            <a:pPr>
              <a:lnSpc>
                <a:spcPct val="90000"/>
              </a:lnSpc>
              <a:spcAft>
                <a:spcPts val="600"/>
              </a:spcAft>
            </a:pPr>
            <a:r>
              <a:rPr lang="en-US" sz="3200" dirty="0">
                <a:gradFill>
                  <a:gsLst>
                    <a:gs pos="2917">
                      <a:schemeClr val="tx1"/>
                    </a:gs>
                    <a:gs pos="30000">
                      <a:schemeClr val="tx1"/>
                    </a:gs>
                  </a:gsLst>
                  <a:lin ang="5400000" scaled="0"/>
                </a:gradFill>
                <a:latin typeface="+mj-lt"/>
              </a:rPr>
              <a:t>Twitter: @</a:t>
            </a:r>
            <a:r>
              <a:rPr lang="en-US" sz="3200" dirty="0" err="1">
                <a:gradFill>
                  <a:gsLst>
                    <a:gs pos="2917">
                      <a:schemeClr val="tx1"/>
                    </a:gs>
                    <a:gs pos="30000">
                      <a:schemeClr val="tx1"/>
                    </a:gs>
                  </a:gsLst>
                  <a:lin ang="5400000" scaled="0"/>
                </a:gradFill>
                <a:latin typeface="+mj-lt"/>
              </a:rPr>
              <a:t>JenniferMarsman</a:t>
            </a:r>
            <a:endParaRPr lang="en-US" sz="32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102706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bg1"/>
                    </a:gs>
                    <a:gs pos="100000">
                      <a:schemeClr val="bg1"/>
                    </a:gs>
                  </a:gsLst>
                  <a:lin ang="5400000" scaled="0"/>
                </a:gradFill>
              </a:defRPr>
            </a:lvl1pPr>
            <a:lvl2pPr marL="0" indent="0">
              <a:buFontTx/>
              <a:buNone/>
              <a:defRPr sz="2000">
                <a:gradFill>
                  <a:gsLst>
                    <a:gs pos="1250">
                      <a:schemeClr val="bg1"/>
                    </a:gs>
                    <a:gs pos="100000">
                      <a:schemeClr val="bg1"/>
                    </a:gs>
                  </a:gsLst>
                  <a:lin ang="5400000" scaled="0"/>
                </a:gradFill>
              </a:defRPr>
            </a:lvl2pPr>
            <a:lvl3pPr marL="228600" indent="0">
              <a:buNone/>
              <a:defRPr>
                <a:gradFill>
                  <a:gsLst>
                    <a:gs pos="1250">
                      <a:schemeClr val="bg1"/>
                    </a:gs>
                    <a:gs pos="100000">
                      <a:schemeClr val="bg1"/>
                    </a:gs>
                  </a:gsLst>
                  <a:lin ang="5400000" scaled="0"/>
                </a:gradFill>
              </a:defRPr>
            </a:lvl3pPr>
            <a:lvl4pPr marL="457200" indent="0">
              <a:buNone/>
              <a:defRPr>
                <a:gradFill>
                  <a:gsLst>
                    <a:gs pos="1250">
                      <a:schemeClr val="bg1"/>
                    </a:gs>
                    <a:gs pos="100000">
                      <a:schemeClr val="bg1"/>
                    </a:gs>
                  </a:gsLst>
                  <a:lin ang="5400000" scaled="0"/>
                </a:gradFill>
              </a:defRPr>
            </a:lvl4pPr>
            <a:lvl5pPr marL="685800" indent="0">
              <a:buNone/>
              <a:defRPr>
                <a:gradFill>
                  <a:gsLst>
                    <a:gs pos="1250">
                      <a:schemeClr val="bg1"/>
                    </a:gs>
                    <a:gs pos="100000">
                      <a:schemeClr val="bg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95128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153843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808810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287338" indent="-287338">
              <a:spcBef>
                <a:spcPts val="1224"/>
              </a:spcBef>
              <a:buClr>
                <a:schemeClr val="bg1"/>
              </a:buClr>
              <a:buFont typeface="Arial" pitchFamily="34" charset="0"/>
              <a:buChar char="•"/>
              <a:defRPr sz="3200"/>
            </a:lvl1pPr>
            <a:lvl2pPr marL="531166" indent="-233195">
              <a:buClr>
                <a:schemeClr val="bg1"/>
              </a:buClr>
              <a:defRPr sz="2400"/>
            </a:lvl2pPr>
            <a:lvl3pPr marL="699585" indent="-168419">
              <a:buClr>
                <a:schemeClr val="bg1"/>
              </a:buClr>
              <a:tabLst/>
              <a:defRPr sz="2000"/>
            </a:lvl3pPr>
            <a:lvl4pPr marL="880958" indent="-181374">
              <a:buClr>
                <a:schemeClr val="bg1"/>
              </a:buClr>
              <a:defRPr/>
            </a:lvl4pPr>
            <a:lvl5pPr marL="1049377" indent="-168419">
              <a:buClr>
                <a:schemeClr val="bg1"/>
              </a:buClr>
              <a:tabLs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287338" indent="-287338">
              <a:spcBef>
                <a:spcPts val="1224"/>
              </a:spcBef>
              <a:buClr>
                <a:schemeClr val="bg1"/>
              </a:buClr>
              <a:buFont typeface="Arial" pitchFamily="34" charset="0"/>
              <a:buChar char="•"/>
              <a:defRPr sz="3200"/>
            </a:lvl1pPr>
            <a:lvl2pPr marL="531166" indent="-233195">
              <a:buClr>
                <a:schemeClr val="bg1"/>
              </a:buClr>
              <a:defRPr sz="2400"/>
            </a:lvl2pPr>
            <a:lvl3pPr marL="699585" indent="-168419">
              <a:buClr>
                <a:schemeClr val="bg1"/>
              </a:buClr>
              <a:tabLst/>
              <a:defRPr sz="2000"/>
            </a:lvl3pPr>
            <a:lvl4pPr marL="880958" indent="-181374">
              <a:buClr>
                <a:schemeClr val="bg1"/>
              </a:buClr>
              <a:defRPr/>
            </a:lvl4pPr>
            <a:lvl5pPr marL="1049377" indent="-168419">
              <a:buClr>
                <a:schemeClr val="bg1"/>
              </a:buClr>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202920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1080132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slide">
    <p:bg bwMode="gray">
      <p:bgPr>
        <a:solidFill>
          <a:srgbClr val="D83B0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r="76770"/>
          <a:stretch/>
        </p:blipFill>
        <p:spPr>
          <a:xfrm>
            <a:off x="10808292" y="0"/>
            <a:ext cx="1628183" cy="6994525"/>
          </a:xfrm>
          <a:prstGeom prst="rect">
            <a:avLst/>
          </a:prstGeom>
        </p:spPr>
      </p:pic>
      <p:sp>
        <p:nvSpPr>
          <p:cNvPr id="2" name="Title 1"/>
          <p:cNvSpPr>
            <a:spLocks noGrp="1"/>
          </p:cNvSpPr>
          <p:nvPr>
            <p:ph type="title" hasCustomPrompt="1"/>
          </p:nvPr>
        </p:nvSpPr>
        <p:spPr bwMode="white">
          <a:xfrm>
            <a:off x="274639" y="1209973"/>
            <a:ext cx="10056812" cy="2744490"/>
          </a:xfrm>
          <a:noFill/>
        </p:spPr>
        <p:txBody>
          <a:bodyPr tIns="91440" bIns="91440" anchor="t" anchorCtr="0">
            <a:no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bwMode="white">
          <a:xfrm>
            <a:off x="274638" y="3954463"/>
            <a:ext cx="10058401" cy="1828800"/>
          </a:xfrm>
          <a:noFill/>
        </p:spPr>
        <p:txBody>
          <a:bodyPr lIns="182880" tIns="146304" rIns="182880" bIns="146304">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863350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slide">
    <p:bg bwMode="gray">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274639" y="1209973"/>
            <a:ext cx="10056812" cy="3658890"/>
          </a:xfrm>
          <a:noFill/>
        </p:spPr>
        <p:txBody>
          <a:bodyPr tIns="91440" bIns="91440" anchor="t" anchorCtr="0">
            <a:no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pic>
        <p:nvPicPr>
          <p:cNvPr id="4" name="Picture 3"/>
          <p:cNvPicPr>
            <a:picLocks noChangeAspect="1"/>
          </p:cNvPicPr>
          <p:nvPr userDrawn="1"/>
        </p:nvPicPr>
        <p:blipFill rotWithShape="1">
          <a:blip r:embed="rId2"/>
          <a:srcRect r="76770"/>
          <a:stretch/>
        </p:blipFill>
        <p:spPr>
          <a:xfrm>
            <a:off x="10808292" y="0"/>
            <a:ext cx="1628183" cy="6994525"/>
          </a:xfrm>
          <a:prstGeom prst="rect">
            <a:avLst/>
          </a:prstGeom>
        </p:spPr>
      </p:pic>
    </p:spTree>
    <p:extLst>
      <p:ext uri="{BB962C8B-B14F-4D97-AF65-F5344CB8AC3E}">
        <p14:creationId xmlns:p14="http://schemas.microsoft.com/office/powerpoint/2010/main" val="35709406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header teal">
    <p:bg>
      <p:bgPr>
        <a:solidFill>
          <a:srgbClr val="52525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41116" r="2514"/>
          <a:stretch/>
        </p:blipFill>
        <p:spPr>
          <a:xfrm rot="5400000">
            <a:off x="2713036" y="-2713037"/>
            <a:ext cx="7010400" cy="12436475"/>
          </a:xfrm>
          <a:prstGeom prst="rect">
            <a:avLst/>
          </a:prstGeom>
        </p:spPr>
      </p:pic>
      <p:sp>
        <p:nvSpPr>
          <p:cNvPr id="3" name="Rectangle 2"/>
          <p:cNvSpPr/>
          <p:nvPr userDrawn="1"/>
        </p:nvSpPr>
        <p:spPr bwMode="auto">
          <a:xfrm>
            <a:off x="-2" y="1958182"/>
            <a:ext cx="7924800" cy="3078162"/>
          </a:xfrm>
          <a:prstGeom prst="rect">
            <a:avLst/>
          </a:prstGeom>
          <a:solidFill>
            <a:schemeClr val="accent2">
              <a:alpha val="8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a:xfrm>
            <a:off x="274638" y="2308600"/>
            <a:ext cx="7162799" cy="1181862"/>
          </a:xfrm>
          <a:noFill/>
        </p:spPr>
        <p:txBody>
          <a:bodyPr wrap="square"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280193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header orange">
    <p:bg>
      <p:bgPr>
        <a:solidFill>
          <a:srgbClr val="D83B0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41116" r="2514"/>
          <a:stretch/>
        </p:blipFill>
        <p:spPr>
          <a:xfrm rot="5400000">
            <a:off x="2713036" y="-2713037"/>
            <a:ext cx="7010400" cy="12436475"/>
          </a:xfrm>
          <a:prstGeom prst="rect">
            <a:avLst/>
          </a:prstGeom>
        </p:spPr>
      </p:pic>
      <p:sp>
        <p:nvSpPr>
          <p:cNvPr id="5" name="Rectangle 4"/>
          <p:cNvSpPr/>
          <p:nvPr userDrawn="1"/>
        </p:nvSpPr>
        <p:spPr bwMode="auto">
          <a:xfrm>
            <a:off x="-2" y="1958182"/>
            <a:ext cx="7924800" cy="3078162"/>
          </a:xfrm>
          <a:prstGeom prst="rect">
            <a:avLst/>
          </a:prstGeom>
          <a:solidFill>
            <a:schemeClr val="accent1">
              <a:alpha val="8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 name="Title 1"/>
          <p:cNvSpPr>
            <a:spLocks noGrp="1"/>
          </p:cNvSpPr>
          <p:nvPr>
            <p:ph type="title" hasCustomPrompt="1"/>
          </p:nvPr>
        </p:nvSpPr>
        <p:spPr>
          <a:xfrm>
            <a:off x="274638" y="2308600"/>
            <a:ext cx="7162799" cy="1181862"/>
          </a:xfrm>
          <a:noFill/>
        </p:spPr>
        <p:txBody>
          <a:bodyPr wrap="square"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332386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header blue">
    <p:bg>
      <p:bgPr>
        <a:solidFill>
          <a:srgbClr val="00827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41116" r="2514"/>
          <a:stretch/>
        </p:blipFill>
        <p:spPr>
          <a:xfrm rot="5400000">
            <a:off x="2713036" y="-2713037"/>
            <a:ext cx="7010400" cy="12436475"/>
          </a:xfrm>
          <a:prstGeom prst="rect">
            <a:avLst/>
          </a:prstGeom>
        </p:spPr>
      </p:pic>
      <p:sp>
        <p:nvSpPr>
          <p:cNvPr id="5" name="Rectangle 4"/>
          <p:cNvSpPr/>
          <p:nvPr userDrawn="1"/>
        </p:nvSpPr>
        <p:spPr bwMode="auto">
          <a:xfrm>
            <a:off x="-2" y="1958182"/>
            <a:ext cx="7924800" cy="3078162"/>
          </a:xfrm>
          <a:prstGeom prst="rect">
            <a:avLst/>
          </a:prstGeom>
          <a:solidFill>
            <a:schemeClr val="bg2">
              <a:alpha val="8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 name="Title 1"/>
          <p:cNvSpPr>
            <a:spLocks noGrp="1"/>
          </p:cNvSpPr>
          <p:nvPr>
            <p:ph type="title" hasCustomPrompt="1"/>
          </p:nvPr>
        </p:nvSpPr>
        <p:spPr>
          <a:xfrm>
            <a:off x="274638" y="2308600"/>
            <a:ext cx="7162799" cy="1181862"/>
          </a:xfrm>
          <a:noFill/>
        </p:spPr>
        <p:txBody>
          <a:bodyPr wrap="square"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236083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header grey">
    <p:bg>
      <p:bgPr>
        <a:solidFill>
          <a:schemeClr val="accent4"/>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41116" r="2514"/>
          <a:stretch/>
        </p:blipFill>
        <p:spPr>
          <a:xfrm rot="5400000">
            <a:off x="2713036" y="-2713037"/>
            <a:ext cx="7010400" cy="12436475"/>
          </a:xfrm>
          <a:prstGeom prst="rect">
            <a:avLst/>
          </a:prstGeom>
        </p:spPr>
      </p:pic>
      <p:sp>
        <p:nvSpPr>
          <p:cNvPr id="5" name="Rectangle 4"/>
          <p:cNvSpPr/>
          <p:nvPr userDrawn="1"/>
        </p:nvSpPr>
        <p:spPr bwMode="auto">
          <a:xfrm>
            <a:off x="-2" y="1958182"/>
            <a:ext cx="7924800" cy="3078162"/>
          </a:xfrm>
          <a:prstGeom prst="rect">
            <a:avLst/>
          </a:prstGeom>
          <a:solidFill>
            <a:schemeClr val="bg1">
              <a:lumMod val="50000"/>
              <a:alpha val="8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 name="Title 1"/>
          <p:cNvSpPr>
            <a:spLocks noGrp="1"/>
          </p:cNvSpPr>
          <p:nvPr>
            <p:ph type="title" hasCustomPrompt="1"/>
          </p:nvPr>
        </p:nvSpPr>
        <p:spPr>
          <a:xfrm>
            <a:off x="274638" y="2308600"/>
            <a:ext cx="7162799" cy="1181862"/>
          </a:xfrm>
          <a:noFill/>
        </p:spPr>
        <p:txBody>
          <a:bodyPr wrap="square"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142246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bg1"/>
                    </a:gs>
                    <a:gs pos="100000">
                      <a:schemeClr val="bg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0729287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teal">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41143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851395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orang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013603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yellow">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79874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gre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161846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323692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9232" y="3145040"/>
            <a:ext cx="3291840" cy="705836"/>
          </a:xfrm>
          <a:prstGeom prst="rect">
            <a:avLst/>
          </a:prstGeom>
        </p:spPr>
      </p:pic>
    </p:spTree>
    <p:extLst>
      <p:ext uri="{BB962C8B-B14F-4D97-AF65-F5344CB8AC3E}">
        <p14:creationId xmlns:p14="http://schemas.microsoft.com/office/powerpoint/2010/main" val="134542853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206810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6" name="Group 15"/>
          <p:cNvGrpSpPr/>
          <p:nvPr/>
        </p:nvGrpSpPr>
        <p:grpSpPr>
          <a:xfrm>
            <a:off x="2645541" y="2009459"/>
            <a:ext cx="7044865" cy="3059669"/>
            <a:chOff x="2161774" y="1641895"/>
            <a:chExt cx="7186130" cy="3120579"/>
          </a:xfrm>
        </p:grpSpPr>
        <p:sp>
          <p:nvSpPr>
            <p:cNvPr id="17" name="TextBox 16"/>
            <p:cNvSpPr txBox="1"/>
            <p:nvPr/>
          </p:nvSpPr>
          <p:spPr>
            <a:xfrm>
              <a:off x="2161774" y="1641895"/>
              <a:ext cx="7186130" cy="2138486"/>
            </a:xfrm>
            <a:prstGeom prst="rect">
              <a:avLst/>
            </a:prstGeom>
            <a:noFill/>
          </p:spPr>
          <p:txBody>
            <a:bodyPr wrap="none" lIns="182880" tIns="146304" rIns="182880" bIns="146304" rtlCol="0">
              <a:spAutoFit/>
            </a:bodyPr>
            <a:lstStyle/>
            <a:p>
              <a:pPr marL="0" marR="0" lvl="0" indent="0" defTabSz="896214" eaLnBrk="1" fontAlgn="auto" latinLnBrk="0" hangingPunct="1">
                <a:lnSpc>
                  <a:spcPct val="90000"/>
                </a:lnSpc>
                <a:spcBef>
                  <a:spcPts val="0"/>
                </a:spcBef>
                <a:spcAft>
                  <a:spcPts val="587"/>
                </a:spcAft>
                <a:buClrTx/>
                <a:buSzTx/>
                <a:buFontTx/>
                <a:buNone/>
                <a:tabLst/>
                <a:defRPr/>
              </a:pPr>
              <a:r>
                <a:rPr kumimoji="0" lang="en-US" sz="6077" b="0" i="0" u="none" strike="noStrike" kern="0" cap="none" spc="0" normalizeH="0" baseline="0" noProof="0" dirty="0">
                  <a:ln>
                    <a:noFill/>
                  </a:ln>
                  <a:gradFill>
                    <a:gsLst>
                      <a:gs pos="2917">
                        <a:srgbClr val="FFFFFF"/>
                      </a:gs>
                      <a:gs pos="30000">
                        <a:srgbClr val="FFFFFF"/>
                      </a:gs>
                    </a:gsLst>
                    <a:lin ang="5400000" scaled="0"/>
                  </a:gradFill>
                  <a:effectLst/>
                  <a:uLnTx/>
                  <a:uFillTx/>
                </a:rPr>
                <a:t>Microsoft Analytics</a:t>
              </a:r>
            </a:p>
            <a:p>
              <a:pPr marL="0" marR="0" lvl="0" indent="0" defTabSz="896214" eaLnBrk="1" fontAlgn="auto" latinLnBrk="0" hangingPunct="1">
                <a:lnSpc>
                  <a:spcPct val="90000"/>
                </a:lnSpc>
                <a:spcBef>
                  <a:spcPts val="0"/>
                </a:spcBef>
                <a:spcAft>
                  <a:spcPts val="587"/>
                </a:spcAft>
                <a:buClrTx/>
                <a:buSzTx/>
                <a:buFontTx/>
                <a:buNone/>
                <a:tabLst/>
                <a:defRPr/>
              </a:pPr>
              <a:r>
                <a:rPr kumimoji="0" lang="en-US" sz="6077"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rPr>
                <a:t>and BI Partner Airlift</a:t>
              </a:r>
            </a:p>
          </p:txBody>
        </p:sp>
        <p:cxnSp>
          <p:nvCxnSpPr>
            <p:cNvPr id="18" name="Straight Connector 17"/>
            <p:cNvCxnSpPr/>
            <p:nvPr/>
          </p:nvCxnSpPr>
          <p:spPr>
            <a:xfrm>
              <a:off x="2342280" y="3655689"/>
              <a:ext cx="6667251" cy="0"/>
            </a:xfrm>
            <a:prstGeom prst="line">
              <a:avLst/>
            </a:prstGeom>
            <a:noFill/>
            <a:ln w="25400" cap="flat" cmpd="sng" algn="ctr">
              <a:solidFill>
                <a:srgbClr val="FFFFFF"/>
              </a:solidFill>
              <a:prstDash val="solid"/>
              <a:headEnd type="none"/>
              <a:tailEnd type="none"/>
            </a:ln>
            <a:effectLst/>
          </p:spPr>
        </p:cxnSp>
        <p:sp>
          <p:nvSpPr>
            <p:cNvPr id="19" name="TextBox 18"/>
            <p:cNvSpPr txBox="1"/>
            <p:nvPr/>
          </p:nvSpPr>
          <p:spPr>
            <a:xfrm>
              <a:off x="6878386" y="3853980"/>
              <a:ext cx="2347452" cy="858142"/>
            </a:xfrm>
            <a:prstGeom prst="rect">
              <a:avLst/>
            </a:prstGeom>
            <a:noFill/>
          </p:spPr>
          <p:txBody>
            <a:bodyPr wrap="none" lIns="182880" tIns="146304" rIns="182880" bIns="146304" rtlCol="0">
              <a:spAutoFit/>
            </a:bodyPr>
            <a:lstStyle/>
            <a:p>
              <a:pPr marL="0" marR="0" lvl="0" indent="0" defTabSz="896214" eaLnBrk="1" fontAlgn="auto" latinLnBrk="0" hangingPunct="1">
                <a:lnSpc>
                  <a:spcPct val="90000"/>
                </a:lnSpc>
                <a:spcBef>
                  <a:spcPts val="0"/>
                </a:spcBef>
                <a:spcAft>
                  <a:spcPts val="587"/>
                </a:spcAft>
                <a:buClrTx/>
                <a:buSzTx/>
                <a:buFontTx/>
                <a:buNone/>
                <a:tabLst/>
                <a:defRPr/>
              </a:pPr>
              <a:r>
                <a:rPr kumimoji="0" lang="en-US" sz="3823" b="0" i="0" u="none" strike="noStrike" kern="0" cap="none" spc="0" normalizeH="0" baseline="0" noProof="0" dirty="0">
                  <a:ln>
                    <a:noFill/>
                  </a:ln>
                  <a:gradFill>
                    <a:gsLst>
                      <a:gs pos="2917">
                        <a:srgbClr val="FFFFFF"/>
                      </a:gs>
                      <a:gs pos="30000">
                        <a:srgbClr val="FFFFFF"/>
                      </a:gs>
                    </a:gsLst>
                    <a:lin ang="5400000" scaled="0"/>
                  </a:gradFill>
                  <a:effectLst/>
                  <a:uLnTx/>
                  <a:uFillTx/>
                </a:rPr>
                <a:t>Power BI</a:t>
              </a:r>
            </a:p>
          </p:txBody>
        </p:sp>
        <p:sp>
          <p:nvSpPr>
            <p:cNvPr id="20" name="Freeform 8"/>
            <p:cNvSpPr>
              <a:spLocks noChangeAspect="1" noEditPoints="1"/>
            </p:cNvSpPr>
            <p:nvPr/>
          </p:nvSpPr>
          <p:spPr bwMode="black">
            <a:xfrm>
              <a:off x="2411865" y="4021149"/>
              <a:ext cx="2876492" cy="347504"/>
            </a:xfrm>
            <a:custGeom>
              <a:avLst/>
              <a:gdLst>
                <a:gd name="T0" fmla="*/ 184 w 1840"/>
                <a:gd name="T1" fmla="*/ 42 h 220"/>
                <a:gd name="T2" fmla="*/ 97 w 1840"/>
                <a:gd name="T3" fmla="*/ 216 h 220"/>
                <a:gd name="T4" fmla="*/ 23 w 1840"/>
                <a:gd name="T5" fmla="*/ 81 h 220"/>
                <a:gd name="T6" fmla="*/ 31 w 1840"/>
                <a:gd name="T7" fmla="*/ 15 h 220"/>
                <a:gd name="T8" fmla="*/ 113 w 1840"/>
                <a:gd name="T9" fmla="*/ 155 h 220"/>
                <a:gd name="T10" fmla="*/ 275 w 1840"/>
                <a:gd name="T11" fmla="*/ 21 h 220"/>
                <a:gd name="T12" fmla="*/ 244 w 1840"/>
                <a:gd name="T13" fmla="*/ 21 h 220"/>
                <a:gd name="T14" fmla="*/ 275 w 1840"/>
                <a:gd name="T15" fmla="*/ 21 h 220"/>
                <a:gd name="T16" fmla="*/ 271 w 1840"/>
                <a:gd name="T17" fmla="*/ 72 h 220"/>
                <a:gd name="T18" fmla="*/ 332 w 1840"/>
                <a:gd name="T19" fmla="*/ 211 h 220"/>
                <a:gd name="T20" fmla="*/ 373 w 1840"/>
                <a:gd name="T21" fmla="*/ 69 h 220"/>
                <a:gd name="T22" fmla="*/ 336 w 1840"/>
                <a:gd name="T23" fmla="*/ 104 h 220"/>
                <a:gd name="T24" fmla="*/ 407 w 1840"/>
                <a:gd name="T25" fmla="*/ 188 h 220"/>
                <a:gd name="T26" fmla="*/ 466 w 1840"/>
                <a:gd name="T27" fmla="*/ 105 h 220"/>
                <a:gd name="T28" fmla="*/ 434 w 1840"/>
                <a:gd name="T29" fmla="*/ 72 h 220"/>
                <a:gd name="T30" fmla="*/ 472 w 1840"/>
                <a:gd name="T31" fmla="*/ 78 h 220"/>
                <a:gd name="T32" fmla="*/ 653 w 1840"/>
                <a:gd name="T33" fmla="*/ 144 h 220"/>
                <a:gd name="T34" fmla="*/ 511 w 1840"/>
                <a:gd name="T35" fmla="*/ 146 h 220"/>
                <a:gd name="T36" fmla="*/ 653 w 1840"/>
                <a:gd name="T37" fmla="*/ 144 h 220"/>
                <a:gd name="T38" fmla="*/ 548 w 1840"/>
                <a:gd name="T39" fmla="*/ 103 h 220"/>
                <a:gd name="T40" fmla="*/ 618 w 1840"/>
                <a:gd name="T41" fmla="*/ 186 h 220"/>
                <a:gd name="T42" fmla="*/ 707 w 1840"/>
                <a:gd name="T43" fmla="*/ 220 h 220"/>
                <a:gd name="T44" fmla="*/ 736 w 1840"/>
                <a:gd name="T45" fmla="*/ 180 h 220"/>
                <a:gd name="T46" fmla="*/ 671 w 1840"/>
                <a:gd name="T47" fmla="*/ 111 h 220"/>
                <a:gd name="T48" fmla="*/ 753 w 1840"/>
                <a:gd name="T49" fmla="*/ 99 h 220"/>
                <a:gd name="T50" fmla="*/ 700 w 1840"/>
                <a:gd name="T51" fmla="*/ 123 h 220"/>
                <a:gd name="T52" fmla="*/ 916 w 1840"/>
                <a:gd name="T53" fmla="*/ 144 h 220"/>
                <a:gd name="T54" fmla="*/ 775 w 1840"/>
                <a:gd name="T55" fmla="*/ 146 h 220"/>
                <a:gd name="T56" fmla="*/ 916 w 1840"/>
                <a:gd name="T57" fmla="*/ 144 h 220"/>
                <a:gd name="T58" fmla="*/ 811 w 1840"/>
                <a:gd name="T59" fmla="*/ 103 h 220"/>
                <a:gd name="T60" fmla="*/ 881 w 1840"/>
                <a:gd name="T61" fmla="*/ 186 h 220"/>
                <a:gd name="T62" fmla="*/ 971 w 1840"/>
                <a:gd name="T63" fmla="*/ 50 h 220"/>
                <a:gd name="T64" fmla="*/ 971 w 1840"/>
                <a:gd name="T65" fmla="*/ 92 h 220"/>
                <a:gd name="T66" fmla="*/ 923 w 1840"/>
                <a:gd name="T67" fmla="*/ 92 h 220"/>
                <a:gd name="T68" fmla="*/ 961 w 1840"/>
                <a:gd name="T69" fmla="*/ 14 h 220"/>
                <a:gd name="T70" fmla="*/ 1088 w 1840"/>
                <a:gd name="T71" fmla="*/ 215 h 220"/>
                <a:gd name="T72" fmla="*/ 1004 w 1840"/>
                <a:gd name="T73" fmla="*/ 92 h 220"/>
                <a:gd name="T74" fmla="*/ 1052 w 1840"/>
                <a:gd name="T75" fmla="*/ 30 h 220"/>
                <a:gd name="T76" fmla="*/ 1052 w 1840"/>
                <a:gd name="T77" fmla="*/ 92 h 220"/>
                <a:gd name="T78" fmla="*/ 1088 w 1840"/>
                <a:gd name="T79" fmla="*/ 195 h 220"/>
                <a:gd name="T80" fmla="*/ 1282 w 1840"/>
                <a:gd name="T81" fmla="*/ 160 h 220"/>
                <a:gd name="T82" fmla="*/ 1228 w 1840"/>
                <a:gd name="T83" fmla="*/ 15 h 220"/>
                <a:gd name="T84" fmla="*/ 1243 w 1840"/>
                <a:gd name="T85" fmla="*/ 53 h 220"/>
                <a:gd name="T86" fmla="*/ 1205 w 1840"/>
                <a:gd name="T87" fmla="*/ 139 h 220"/>
                <a:gd name="T88" fmla="*/ 1458 w 1840"/>
                <a:gd name="T89" fmla="*/ 197 h 220"/>
                <a:gd name="T90" fmla="*/ 1425 w 1840"/>
                <a:gd name="T91" fmla="*/ 92 h 220"/>
                <a:gd name="T92" fmla="*/ 1459 w 1840"/>
                <a:gd name="T93" fmla="*/ 79 h 220"/>
                <a:gd name="T94" fmla="*/ 1574 w 1840"/>
                <a:gd name="T95" fmla="*/ 194 h 220"/>
                <a:gd name="T96" fmla="*/ 1501 w 1840"/>
                <a:gd name="T97" fmla="*/ 72 h 220"/>
                <a:gd name="T98" fmla="*/ 1574 w 1840"/>
                <a:gd name="T99" fmla="*/ 155 h 220"/>
                <a:gd name="T100" fmla="*/ 1711 w 1840"/>
                <a:gd name="T101" fmla="*/ 96 h 220"/>
                <a:gd name="T102" fmla="*/ 1659 w 1840"/>
                <a:gd name="T103" fmla="*/ 216 h 220"/>
                <a:gd name="T104" fmla="*/ 1659 w 1840"/>
                <a:gd name="T105" fmla="*/ 102 h 220"/>
                <a:gd name="T106" fmla="*/ 1711 w 1840"/>
                <a:gd name="T107" fmla="*/ 72 h 220"/>
                <a:gd name="T108" fmla="*/ 1751 w 1840"/>
                <a:gd name="T109" fmla="*/ 187 h 220"/>
                <a:gd name="T110" fmla="*/ 1779 w 1840"/>
                <a:gd name="T111" fmla="*/ 220 h 220"/>
                <a:gd name="T112" fmla="*/ 1747 w 1840"/>
                <a:gd name="T113" fmla="*/ 79 h 220"/>
                <a:gd name="T114" fmla="*/ 1840 w 1840"/>
                <a:gd name="T115" fmla="*/ 150 h 220"/>
                <a:gd name="T116" fmla="*/ 1753 w 1840"/>
                <a:gd name="T117"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20">
                  <a:moveTo>
                    <a:pt x="206" y="216"/>
                  </a:moveTo>
                  <a:cubicBezTo>
                    <a:pt x="182" y="216"/>
                    <a:pt x="182" y="216"/>
                    <a:pt x="182" y="216"/>
                  </a:cubicBezTo>
                  <a:cubicBezTo>
                    <a:pt x="182" y="81"/>
                    <a:pt x="182" y="81"/>
                    <a:pt x="182" y="81"/>
                  </a:cubicBezTo>
                  <a:cubicBezTo>
                    <a:pt x="182" y="70"/>
                    <a:pt x="183" y="57"/>
                    <a:pt x="184" y="42"/>
                  </a:cubicBezTo>
                  <a:cubicBezTo>
                    <a:pt x="183" y="42"/>
                    <a:pt x="183" y="42"/>
                    <a:pt x="183" y="42"/>
                  </a:cubicBezTo>
                  <a:cubicBezTo>
                    <a:pt x="181" y="51"/>
                    <a:pt x="179" y="57"/>
                    <a:pt x="177" y="61"/>
                  </a:cubicBezTo>
                  <a:cubicBezTo>
                    <a:pt x="108" y="216"/>
                    <a:pt x="108" y="216"/>
                    <a:pt x="108" y="216"/>
                  </a:cubicBezTo>
                  <a:cubicBezTo>
                    <a:pt x="97" y="216"/>
                    <a:pt x="97" y="216"/>
                    <a:pt x="97" y="216"/>
                  </a:cubicBezTo>
                  <a:cubicBezTo>
                    <a:pt x="28" y="63"/>
                    <a:pt x="28" y="63"/>
                    <a:pt x="28" y="63"/>
                  </a:cubicBezTo>
                  <a:cubicBezTo>
                    <a:pt x="26" y="58"/>
                    <a:pt x="24" y="51"/>
                    <a:pt x="22" y="42"/>
                  </a:cubicBezTo>
                  <a:cubicBezTo>
                    <a:pt x="21" y="42"/>
                    <a:pt x="21" y="42"/>
                    <a:pt x="21" y="42"/>
                  </a:cubicBezTo>
                  <a:cubicBezTo>
                    <a:pt x="22" y="50"/>
                    <a:pt x="23" y="63"/>
                    <a:pt x="23" y="81"/>
                  </a:cubicBezTo>
                  <a:cubicBezTo>
                    <a:pt x="23" y="216"/>
                    <a:pt x="23" y="216"/>
                    <a:pt x="23" y="216"/>
                  </a:cubicBezTo>
                  <a:cubicBezTo>
                    <a:pt x="0" y="216"/>
                    <a:pt x="0" y="216"/>
                    <a:pt x="0" y="216"/>
                  </a:cubicBezTo>
                  <a:cubicBezTo>
                    <a:pt x="0" y="15"/>
                    <a:pt x="0" y="15"/>
                    <a:pt x="0" y="15"/>
                  </a:cubicBezTo>
                  <a:cubicBezTo>
                    <a:pt x="31" y="15"/>
                    <a:pt x="31" y="15"/>
                    <a:pt x="31" y="15"/>
                  </a:cubicBezTo>
                  <a:cubicBezTo>
                    <a:pt x="93" y="155"/>
                    <a:pt x="93" y="155"/>
                    <a:pt x="93" y="155"/>
                  </a:cubicBezTo>
                  <a:cubicBezTo>
                    <a:pt x="98" y="166"/>
                    <a:pt x="101" y="174"/>
                    <a:pt x="102" y="180"/>
                  </a:cubicBezTo>
                  <a:cubicBezTo>
                    <a:pt x="103" y="180"/>
                    <a:pt x="103" y="180"/>
                    <a:pt x="103" y="180"/>
                  </a:cubicBezTo>
                  <a:cubicBezTo>
                    <a:pt x="108" y="167"/>
                    <a:pt x="111" y="158"/>
                    <a:pt x="113" y="155"/>
                  </a:cubicBezTo>
                  <a:cubicBezTo>
                    <a:pt x="176" y="15"/>
                    <a:pt x="176" y="15"/>
                    <a:pt x="176" y="15"/>
                  </a:cubicBezTo>
                  <a:cubicBezTo>
                    <a:pt x="206" y="15"/>
                    <a:pt x="206" y="15"/>
                    <a:pt x="206" y="15"/>
                  </a:cubicBezTo>
                  <a:lnTo>
                    <a:pt x="206" y="216"/>
                  </a:lnTo>
                  <a:close/>
                  <a:moveTo>
                    <a:pt x="275" y="21"/>
                  </a:moveTo>
                  <a:cubicBezTo>
                    <a:pt x="275" y="25"/>
                    <a:pt x="273" y="29"/>
                    <a:pt x="270" y="32"/>
                  </a:cubicBezTo>
                  <a:cubicBezTo>
                    <a:pt x="267" y="34"/>
                    <a:pt x="263" y="36"/>
                    <a:pt x="259" y="36"/>
                  </a:cubicBezTo>
                  <a:cubicBezTo>
                    <a:pt x="255" y="36"/>
                    <a:pt x="252" y="34"/>
                    <a:pt x="249" y="32"/>
                  </a:cubicBezTo>
                  <a:cubicBezTo>
                    <a:pt x="246" y="29"/>
                    <a:pt x="244" y="25"/>
                    <a:pt x="244" y="21"/>
                  </a:cubicBezTo>
                  <a:cubicBezTo>
                    <a:pt x="244" y="17"/>
                    <a:pt x="246" y="13"/>
                    <a:pt x="249" y="10"/>
                  </a:cubicBezTo>
                  <a:cubicBezTo>
                    <a:pt x="251" y="7"/>
                    <a:pt x="255" y="6"/>
                    <a:pt x="259" y="6"/>
                  </a:cubicBezTo>
                  <a:cubicBezTo>
                    <a:pt x="264" y="6"/>
                    <a:pt x="267" y="7"/>
                    <a:pt x="270" y="10"/>
                  </a:cubicBezTo>
                  <a:cubicBezTo>
                    <a:pt x="273" y="13"/>
                    <a:pt x="275" y="17"/>
                    <a:pt x="275" y="21"/>
                  </a:cubicBezTo>
                  <a:close/>
                  <a:moveTo>
                    <a:pt x="271" y="216"/>
                  </a:moveTo>
                  <a:cubicBezTo>
                    <a:pt x="248" y="216"/>
                    <a:pt x="248" y="216"/>
                    <a:pt x="248" y="216"/>
                  </a:cubicBezTo>
                  <a:cubicBezTo>
                    <a:pt x="248" y="72"/>
                    <a:pt x="248" y="72"/>
                    <a:pt x="248" y="72"/>
                  </a:cubicBezTo>
                  <a:cubicBezTo>
                    <a:pt x="271" y="72"/>
                    <a:pt x="271" y="72"/>
                    <a:pt x="271" y="72"/>
                  </a:cubicBezTo>
                  <a:lnTo>
                    <a:pt x="271" y="216"/>
                  </a:lnTo>
                  <a:close/>
                  <a:moveTo>
                    <a:pt x="407" y="210"/>
                  </a:moveTo>
                  <a:cubicBezTo>
                    <a:pt x="395" y="216"/>
                    <a:pt x="382" y="220"/>
                    <a:pt x="367" y="220"/>
                  </a:cubicBezTo>
                  <a:cubicBezTo>
                    <a:pt x="354" y="220"/>
                    <a:pt x="342" y="217"/>
                    <a:pt x="332" y="211"/>
                  </a:cubicBezTo>
                  <a:cubicBezTo>
                    <a:pt x="321" y="205"/>
                    <a:pt x="313" y="196"/>
                    <a:pt x="307" y="185"/>
                  </a:cubicBezTo>
                  <a:cubicBezTo>
                    <a:pt x="301" y="174"/>
                    <a:pt x="299" y="162"/>
                    <a:pt x="299" y="148"/>
                  </a:cubicBezTo>
                  <a:cubicBezTo>
                    <a:pt x="299" y="124"/>
                    <a:pt x="305" y="105"/>
                    <a:pt x="319" y="90"/>
                  </a:cubicBezTo>
                  <a:cubicBezTo>
                    <a:pt x="333" y="76"/>
                    <a:pt x="351" y="69"/>
                    <a:pt x="373" y="69"/>
                  </a:cubicBezTo>
                  <a:cubicBezTo>
                    <a:pt x="386" y="69"/>
                    <a:pt x="397" y="71"/>
                    <a:pt x="407" y="76"/>
                  </a:cubicBezTo>
                  <a:cubicBezTo>
                    <a:pt x="407" y="100"/>
                    <a:pt x="407" y="100"/>
                    <a:pt x="407" y="100"/>
                  </a:cubicBezTo>
                  <a:cubicBezTo>
                    <a:pt x="396" y="92"/>
                    <a:pt x="385" y="89"/>
                    <a:pt x="373" y="89"/>
                  </a:cubicBezTo>
                  <a:cubicBezTo>
                    <a:pt x="358" y="89"/>
                    <a:pt x="345" y="94"/>
                    <a:pt x="336" y="104"/>
                  </a:cubicBezTo>
                  <a:cubicBezTo>
                    <a:pt x="327" y="115"/>
                    <a:pt x="322" y="129"/>
                    <a:pt x="322" y="146"/>
                  </a:cubicBezTo>
                  <a:cubicBezTo>
                    <a:pt x="322" y="163"/>
                    <a:pt x="327" y="176"/>
                    <a:pt x="335" y="186"/>
                  </a:cubicBezTo>
                  <a:cubicBezTo>
                    <a:pt x="344" y="195"/>
                    <a:pt x="356" y="200"/>
                    <a:pt x="371" y="200"/>
                  </a:cubicBezTo>
                  <a:cubicBezTo>
                    <a:pt x="384" y="200"/>
                    <a:pt x="395" y="196"/>
                    <a:pt x="407" y="188"/>
                  </a:cubicBezTo>
                  <a:lnTo>
                    <a:pt x="407" y="210"/>
                  </a:lnTo>
                  <a:close/>
                  <a:moveTo>
                    <a:pt x="509" y="96"/>
                  </a:moveTo>
                  <a:cubicBezTo>
                    <a:pt x="505" y="93"/>
                    <a:pt x="499" y="91"/>
                    <a:pt x="491" y="91"/>
                  </a:cubicBezTo>
                  <a:cubicBezTo>
                    <a:pt x="481" y="91"/>
                    <a:pt x="473" y="96"/>
                    <a:pt x="466" y="105"/>
                  </a:cubicBezTo>
                  <a:cubicBezTo>
                    <a:pt x="460" y="115"/>
                    <a:pt x="457" y="128"/>
                    <a:pt x="457" y="143"/>
                  </a:cubicBezTo>
                  <a:cubicBezTo>
                    <a:pt x="457" y="216"/>
                    <a:pt x="457" y="216"/>
                    <a:pt x="457" y="216"/>
                  </a:cubicBezTo>
                  <a:cubicBezTo>
                    <a:pt x="434" y="216"/>
                    <a:pt x="434" y="216"/>
                    <a:pt x="434" y="216"/>
                  </a:cubicBezTo>
                  <a:cubicBezTo>
                    <a:pt x="434" y="72"/>
                    <a:pt x="434" y="72"/>
                    <a:pt x="434" y="72"/>
                  </a:cubicBezTo>
                  <a:cubicBezTo>
                    <a:pt x="457" y="72"/>
                    <a:pt x="457" y="72"/>
                    <a:pt x="457" y="72"/>
                  </a:cubicBezTo>
                  <a:cubicBezTo>
                    <a:pt x="457" y="102"/>
                    <a:pt x="457" y="102"/>
                    <a:pt x="457" y="102"/>
                  </a:cubicBezTo>
                  <a:cubicBezTo>
                    <a:pt x="457" y="102"/>
                    <a:pt x="457" y="102"/>
                    <a:pt x="457" y="102"/>
                  </a:cubicBezTo>
                  <a:cubicBezTo>
                    <a:pt x="460" y="92"/>
                    <a:pt x="465" y="84"/>
                    <a:pt x="472" y="78"/>
                  </a:cubicBezTo>
                  <a:cubicBezTo>
                    <a:pt x="479" y="73"/>
                    <a:pt x="486" y="70"/>
                    <a:pt x="495" y="70"/>
                  </a:cubicBezTo>
                  <a:cubicBezTo>
                    <a:pt x="501" y="70"/>
                    <a:pt x="506" y="70"/>
                    <a:pt x="509" y="72"/>
                  </a:cubicBezTo>
                  <a:lnTo>
                    <a:pt x="509" y="96"/>
                  </a:lnTo>
                  <a:close/>
                  <a:moveTo>
                    <a:pt x="653" y="144"/>
                  </a:moveTo>
                  <a:cubicBezTo>
                    <a:pt x="653" y="167"/>
                    <a:pt x="647" y="185"/>
                    <a:pt x="634" y="199"/>
                  </a:cubicBezTo>
                  <a:cubicBezTo>
                    <a:pt x="621" y="213"/>
                    <a:pt x="603" y="220"/>
                    <a:pt x="581" y="220"/>
                  </a:cubicBezTo>
                  <a:cubicBezTo>
                    <a:pt x="560" y="220"/>
                    <a:pt x="543" y="213"/>
                    <a:pt x="530" y="200"/>
                  </a:cubicBezTo>
                  <a:cubicBezTo>
                    <a:pt x="518" y="186"/>
                    <a:pt x="511" y="168"/>
                    <a:pt x="511" y="146"/>
                  </a:cubicBezTo>
                  <a:cubicBezTo>
                    <a:pt x="511" y="122"/>
                    <a:pt x="518" y="103"/>
                    <a:pt x="531" y="90"/>
                  </a:cubicBezTo>
                  <a:cubicBezTo>
                    <a:pt x="544" y="76"/>
                    <a:pt x="562" y="69"/>
                    <a:pt x="585" y="69"/>
                  </a:cubicBezTo>
                  <a:cubicBezTo>
                    <a:pt x="606" y="69"/>
                    <a:pt x="623" y="76"/>
                    <a:pt x="635" y="89"/>
                  </a:cubicBezTo>
                  <a:cubicBezTo>
                    <a:pt x="647" y="102"/>
                    <a:pt x="653" y="121"/>
                    <a:pt x="653" y="144"/>
                  </a:cubicBezTo>
                  <a:close/>
                  <a:moveTo>
                    <a:pt x="629" y="145"/>
                  </a:moveTo>
                  <a:cubicBezTo>
                    <a:pt x="629" y="127"/>
                    <a:pt x="625" y="113"/>
                    <a:pt x="617" y="103"/>
                  </a:cubicBezTo>
                  <a:cubicBezTo>
                    <a:pt x="609" y="93"/>
                    <a:pt x="598" y="89"/>
                    <a:pt x="583" y="89"/>
                  </a:cubicBezTo>
                  <a:cubicBezTo>
                    <a:pt x="568" y="89"/>
                    <a:pt x="557" y="93"/>
                    <a:pt x="548" y="103"/>
                  </a:cubicBezTo>
                  <a:cubicBezTo>
                    <a:pt x="539" y="113"/>
                    <a:pt x="535" y="127"/>
                    <a:pt x="535" y="145"/>
                  </a:cubicBezTo>
                  <a:cubicBezTo>
                    <a:pt x="535" y="162"/>
                    <a:pt x="539" y="176"/>
                    <a:pt x="548" y="186"/>
                  </a:cubicBezTo>
                  <a:cubicBezTo>
                    <a:pt x="557" y="195"/>
                    <a:pt x="568" y="200"/>
                    <a:pt x="583" y="200"/>
                  </a:cubicBezTo>
                  <a:cubicBezTo>
                    <a:pt x="598" y="200"/>
                    <a:pt x="610" y="195"/>
                    <a:pt x="618" y="186"/>
                  </a:cubicBezTo>
                  <a:cubicBezTo>
                    <a:pt x="625" y="176"/>
                    <a:pt x="629" y="163"/>
                    <a:pt x="629" y="145"/>
                  </a:cubicBezTo>
                  <a:close/>
                  <a:moveTo>
                    <a:pt x="760" y="178"/>
                  </a:moveTo>
                  <a:cubicBezTo>
                    <a:pt x="760" y="190"/>
                    <a:pt x="755" y="200"/>
                    <a:pt x="745" y="208"/>
                  </a:cubicBezTo>
                  <a:cubicBezTo>
                    <a:pt x="736" y="216"/>
                    <a:pt x="723" y="220"/>
                    <a:pt x="707" y="220"/>
                  </a:cubicBezTo>
                  <a:cubicBezTo>
                    <a:pt x="693" y="220"/>
                    <a:pt x="681" y="217"/>
                    <a:pt x="671" y="211"/>
                  </a:cubicBezTo>
                  <a:cubicBezTo>
                    <a:pt x="671" y="186"/>
                    <a:pt x="671" y="186"/>
                    <a:pt x="671" y="186"/>
                  </a:cubicBezTo>
                  <a:cubicBezTo>
                    <a:pt x="683" y="196"/>
                    <a:pt x="695" y="200"/>
                    <a:pt x="709" y="200"/>
                  </a:cubicBezTo>
                  <a:cubicBezTo>
                    <a:pt x="727" y="200"/>
                    <a:pt x="736" y="193"/>
                    <a:pt x="736" y="180"/>
                  </a:cubicBezTo>
                  <a:cubicBezTo>
                    <a:pt x="736" y="175"/>
                    <a:pt x="734" y="170"/>
                    <a:pt x="731" y="167"/>
                  </a:cubicBezTo>
                  <a:cubicBezTo>
                    <a:pt x="727" y="163"/>
                    <a:pt x="719" y="159"/>
                    <a:pt x="706" y="153"/>
                  </a:cubicBezTo>
                  <a:cubicBezTo>
                    <a:pt x="694" y="148"/>
                    <a:pt x="685" y="142"/>
                    <a:pt x="679" y="135"/>
                  </a:cubicBezTo>
                  <a:cubicBezTo>
                    <a:pt x="674" y="129"/>
                    <a:pt x="671" y="121"/>
                    <a:pt x="671" y="111"/>
                  </a:cubicBezTo>
                  <a:cubicBezTo>
                    <a:pt x="671" y="99"/>
                    <a:pt x="676" y="89"/>
                    <a:pt x="686" y="81"/>
                  </a:cubicBezTo>
                  <a:cubicBezTo>
                    <a:pt x="695" y="73"/>
                    <a:pt x="708" y="69"/>
                    <a:pt x="722" y="69"/>
                  </a:cubicBezTo>
                  <a:cubicBezTo>
                    <a:pt x="734" y="69"/>
                    <a:pt x="744" y="71"/>
                    <a:pt x="753" y="76"/>
                  </a:cubicBezTo>
                  <a:cubicBezTo>
                    <a:pt x="753" y="99"/>
                    <a:pt x="753" y="99"/>
                    <a:pt x="753" y="99"/>
                  </a:cubicBezTo>
                  <a:cubicBezTo>
                    <a:pt x="744" y="92"/>
                    <a:pt x="733" y="89"/>
                    <a:pt x="720" y="89"/>
                  </a:cubicBezTo>
                  <a:cubicBezTo>
                    <a:pt x="713" y="89"/>
                    <a:pt x="707" y="90"/>
                    <a:pt x="702" y="94"/>
                  </a:cubicBezTo>
                  <a:cubicBezTo>
                    <a:pt x="697" y="98"/>
                    <a:pt x="695" y="103"/>
                    <a:pt x="695" y="109"/>
                  </a:cubicBezTo>
                  <a:cubicBezTo>
                    <a:pt x="695" y="115"/>
                    <a:pt x="697" y="120"/>
                    <a:pt x="700" y="123"/>
                  </a:cubicBezTo>
                  <a:cubicBezTo>
                    <a:pt x="704" y="127"/>
                    <a:pt x="711" y="131"/>
                    <a:pt x="723" y="135"/>
                  </a:cubicBezTo>
                  <a:cubicBezTo>
                    <a:pt x="736" y="141"/>
                    <a:pt x="746" y="147"/>
                    <a:pt x="751" y="154"/>
                  </a:cubicBezTo>
                  <a:cubicBezTo>
                    <a:pt x="757" y="160"/>
                    <a:pt x="760" y="168"/>
                    <a:pt x="760" y="178"/>
                  </a:cubicBezTo>
                  <a:close/>
                  <a:moveTo>
                    <a:pt x="916" y="144"/>
                  </a:moveTo>
                  <a:cubicBezTo>
                    <a:pt x="916" y="167"/>
                    <a:pt x="910" y="185"/>
                    <a:pt x="897" y="199"/>
                  </a:cubicBezTo>
                  <a:cubicBezTo>
                    <a:pt x="884" y="213"/>
                    <a:pt x="867" y="220"/>
                    <a:pt x="845" y="220"/>
                  </a:cubicBezTo>
                  <a:cubicBezTo>
                    <a:pt x="823" y="220"/>
                    <a:pt x="806" y="213"/>
                    <a:pt x="794" y="200"/>
                  </a:cubicBezTo>
                  <a:cubicBezTo>
                    <a:pt x="781" y="186"/>
                    <a:pt x="775" y="168"/>
                    <a:pt x="775" y="146"/>
                  </a:cubicBezTo>
                  <a:cubicBezTo>
                    <a:pt x="775" y="122"/>
                    <a:pt x="781" y="103"/>
                    <a:pt x="794" y="90"/>
                  </a:cubicBezTo>
                  <a:cubicBezTo>
                    <a:pt x="807" y="76"/>
                    <a:pt x="825" y="69"/>
                    <a:pt x="848" y="69"/>
                  </a:cubicBezTo>
                  <a:cubicBezTo>
                    <a:pt x="869" y="69"/>
                    <a:pt x="886" y="76"/>
                    <a:pt x="898" y="89"/>
                  </a:cubicBezTo>
                  <a:cubicBezTo>
                    <a:pt x="910" y="102"/>
                    <a:pt x="916" y="121"/>
                    <a:pt x="916" y="144"/>
                  </a:cubicBezTo>
                  <a:close/>
                  <a:moveTo>
                    <a:pt x="893" y="145"/>
                  </a:moveTo>
                  <a:cubicBezTo>
                    <a:pt x="893" y="127"/>
                    <a:pt x="889" y="113"/>
                    <a:pt x="881" y="103"/>
                  </a:cubicBezTo>
                  <a:cubicBezTo>
                    <a:pt x="873" y="93"/>
                    <a:pt x="861" y="89"/>
                    <a:pt x="846" y="89"/>
                  </a:cubicBezTo>
                  <a:cubicBezTo>
                    <a:pt x="832" y="89"/>
                    <a:pt x="820" y="93"/>
                    <a:pt x="811" y="103"/>
                  </a:cubicBezTo>
                  <a:cubicBezTo>
                    <a:pt x="803" y="113"/>
                    <a:pt x="798" y="127"/>
                    <a:pt x="798" y="145"/>
                  </a:cubicBezTo>
                  <a:cubicBezTo>
                    <a:pt x="798" y="162"/>
                    <a:pt x="803" y="176"/>
                    <a:pt x="811" y="186"/>
                  </a:cubicBezTo>
                  <a:cubicBezTo>
                    <a:pt x="820" y="195"/>
                    <a:pt x="832" y="200"/>
                    <a:pt x="846" y="200"/>
                  </a:cubicBezTo>
                  <a:cubicBezTo>
                    <a:pt x="861" y="200"/>
                    <a:pt x="873" y="195"/>
                    <a:pt x="881" y="186"/>
                  </a:cubicBezTo>
                  <a:cubicBezTo>
                    <a:pt x="889" y="176"/>
                    <a:pt x="893" y="163"/>
                    <a:pt x="893" y="145"/>
                  </a:cubicBezTo>
                  <a:close/>
                  <a:moveTo>
                    <a:pt x="1010" y="23"/>
                  </a:moveTo>
                  <a:cubicBezTo>
                    <a:pt x="1006" y="21"/>
                    <a:pt x="1001" y="20"/>
                    <a:pt x="995" y="20"/>
                  </a:cubicBezTo>
                  <a:cubicBezTo>
                    <a:pt x="979" y="20"/>
                    <a:pt x="971" y="30"/>
                    <a:pt x="971" y="50"/>
                  </a:cubicBezTo>
                  <a:cubicBezTo>
                    <a:pt x="971" y="72"/>
                    <a:pt x="971" y="72"/>
                    <a:pt x="971" y="72"/>
                  </a:cubicBezTo>
                  <a:cubicBezTo>
                    <a:pt x="1005" y="72"/>
                    <a:pt x="1005" y="72"/>
                    <a:pt x="1005" y="72"/>
                  </a:cubicBezTo>
                  <a:cubicBezTo>
                    <a:pt x="1005" y="92"/>
                    <a:pt x="1005" y="92"/>
                    <a:pt x="1005" y="92"/>
                  </a:cubicBezTo>
                  <a:cubicBezTo>
                    <a:pt x="971" y="92"/>
                    <a:pt x="971" y="92"/>
                    <a:pt x="971" y="92"/>
                  </a:cubicBezTo>
                  <a:cubicBezTo>
                    <a:pt x="971" y="216"/>
                    <a:pt x="971" y="216"/>
                    <a:pt x="971" y="216"/>
                  </a:cubicBezTo>
                  <a:cubicBezTo>
                    <a:pt x="948" y="216"/>
                    <a:pt x="948" y="216"/>
                    <a:pt x="948" y="216"/>
                  </a:cubicBezTo>
                  <a:cubicBezTo>
                    <a:pt x="948" y="92"/>
                    <a:pt x="948" y="92"/>
                    <a:pt x="948" y="92"/>
                  </a:cubicBezTo>
                  <a:cubicBezTo>
                    <a:pt x="923" y="92"/>
                    <a:pt x="923" y="92"/>
                    <a:pt x="923" y="92"/>
                  </a:cubicBezTo>
                  <a:cubicBezTo>
                    <a:pt x="923" y="72"/>
                    <a:pt x="923" y="72"/>
                    <a:pt x="923" y="72"/>
                  </a:cubicBezTo>
                  <a:cubicBezTo>
                    <a:pt x="948" y="72"/>
                    <a:pt x="948" y="72"/>
                    <a:pt x="948" y="72"/>
                  </a:cubicBezTo>
                  <a:cubicBezTo>
                    <a:pt x="948" y="49"/>
                    <a:pt x="948" y="49"/>
                    <a:pt x="948" y="49"/>
                  </a:cubicBezTo>
                  <a:cubicBezTo>
                    <a:pt x="948" y="34"/>
                    <a:pt x="952" y="23"/>
                    <a:pt x="961" y="14"/>
                  </a:cubicBezTo>
                  <a:cubicBezTo>
                    <a:pt x="969" y="5"/>
                    <a:pt x="980" y="0"/>
                    <a:pt x="994" y="0"/>
                  </a:cubicBezTo>
                  <a:cubicBezTo>
                    <a:pt x="1001" y="0"/>
                    <a:pt x="1006" y="1"/>
                    <a:pt x="1010" y="3"/>
                  </a:cubicBezTo>
                  <a:lnTo>
                    <a:pt x="1010" y="23"/>
                  </a:lnTo>
                  <a:close/>
                  <a:moveTo>
                    <a:pt x="1088" y="215"/>
                  </a:moveTo>
                  <a:cubicBezTo>
                    <a:pt x="1083" y="218"/>
                    <a:pt x="1076" y="220"/>
                    <a:pt x="1067" y="220"/>
                  </a:cubicBezTo>
                  <a:cubicBezTo>
                    <a:pt x="1042" y="220"/>
                    <a:pt x="1029" y="205"/>
                    <a:pt x="1029" y="177"/>
                  </a:cubicBezTo>
                  <a:cubicBezTo>
                    <a:pt x="1029" y="92"/>
                    <a:pt x="1029" y="92"/>
                    <a:pt x="1029" y="92"/>
                  </a:cubicBezTo>
                  <a:cubicBezTo>
                    <a:pt x="1004" y="92"/>
                    <a:pt x="1004" y="92"/>
                    <a:pt x="1004" y="92"/>
                  </a:cubicBezTo>
                  <a:cubicBezTo>
                    <a:pt x="1004" y="72"/>
                    <a:pt x="1004" y="72"/>
                    <a:pt x="1004" y="72"/>
                  </a:cubicBezTo>
                  <a:cubicBezTo>
                    <a:pt x="1029" y="72"/>
                    <a:pt x="1029" y="72"/>
                    <a:pt x="1029" y="72"/>
                  </a:cubicBezTo>
                  <a:cubicBezTo>
                    <a:pt x="1029" y="37"/>
                    <a:pt x="1029" y="37"/>
                    <a:pt x="1029" y="37"/>
                  </a:cubicBezTo>
                  <a:cubicBezTo>
                    <a:pt x="1052" y="30"/>
                    <a:pt x="1052" y="30"/>
                    <a:pt x="1052" y="30"/>
                  </a:cubicBezTo>
                  <a:cubicBezTo>
                    <a:pt x="1052" y="72"/>
                    <a:pt x="1052" y="72"/>
                    <a:pt x="1052" y="72"/>
                  </a:cubicBezTo>
                  <a:cubicBezTo>
                    <a:pt x="1088" y="72"/>
                    <a:pt x="1088" y="72"/>
                    <a:pt x="1088" y="72"/>
                  </a:cubicBezTo>
                  <a:cubicBezTo>
                    <a:pt x="1088" y="92"/>
                    <a:pt x="1088" y="92"/>
                    <a:pt x="1088" y="92"/>
                  </a:cubicBezTo>
                  <a:cubicBezTo>
                    <a:pt x="1052" y="92"/>
                    <a:pt x="1052" y="92"/>
                    <a:pt x="1052" y="92"/>
                  </a:cubicBezTo>
                  <a:cubicBezTo>
                    <a:pt x="1052" y="173"/>
                    <a:pt x="1052" y="173"/>
                    <a:pt x="1052" y="173"/>
                  </a:cubicBezTo>
                  <a:cubicBezTo>
                    <a:pt x="1052" y="183"/>
                    <a:pt x="1054" y="190"/>
                    <a:pt x="1057" y="194"/>
                  </a:cubicBezTo>
                  <a:cubicBezTo>
                    <a:pt x="1060" y="198"/>
                    <a:pt x="1066" y="200"/>
                    <a:pt x="1073" y="200"/>
                  </a:cubicBezTo>
                  <a:cubicBezTo>
                    <a:pt x="1079" y="200"/>
                    <a:pt x="1084" y="198"/>
                    <a:pt x="1088" y="195"/>
                  </a:cubicBezTo>
                  <a:lnTo>
                    <a:pt x="1088" y="215"/>
                  </a:lnTo>
                  <a:close/>
                  <a:moveTo>
                    <a:pt x="1330" y="216"/>
                  </a:moveTo>
                  <a:cubicBezTo>
                    <a:pt x="1304" y="216"/>
                    <a:pt x="1304" y="216"/>
                    <a:pt x="1304" y="216"/>
                  </a:cubicBezTo>
                  <a:cubicBezTo>
                    <a:pt x="1282" y="160"/>
                    <a:pt x="1282" y="160"/>
                    <a:pt x="1282" y="160"/>
                  </a:cubicBezTo>
                  <a:cubicBezTo>
                    <a:pt x="1197" y="160"/>
                    <a:pt x="1197" y="160"/>
                    <a:pt x="1197" y="160"/>
                  </a:cubicBezTo>
                  <a:cubicBezTo>
                    <a:pt x="1177" y="216"/>
                    <a:pt x="1177" y="216"/>
                    <a:pt x="1177" y="216"/>
                  </a:cubicBezTo>
                  <a:cubicBezTo>
                    <a:pt x="1151" y="216"/>
                    <a:pt x="1151" y="216"/>
                    <a:pt x="1151" y="216"/>
                  </a:cubicBezTo>
                  <a:cubicBezTo>
                    <a:pt x="1228" y="15"/>
                    <a:pt x="1228" y="15"/>
                    <a:pt x="1228" y="15"/>
                  </a:cubicBezTo>
                  <a:cubicBezTo>
                    <a:pt x="1252" y="15"/>
                    <a:pt x="1252" y="15"/>
                    <a:pt x="1252" y="15"/>
                  </a:cubicBezTo>
                  <a:lnTo>
                    <a:pt x="1330" y="216"/>
                  </a:lnTo>
                  <a:close/>
                  <a:moveTo>
                    <a:pt x="1275" y="139"/>
                  </a:moveTo>
                  <a:cubicBezTo>
                    <a:pt x="1243" y="53"/>
                    <a:pt x="1243" y="53"/>
                    <a:pt x="1243" y="53"/>
                  </a:cubicBezTo>
                  <a:cubicBezTo>
                    <a:pt x="1242" y="51"/>
                    <a:pt x="1241" y="46"/>
                    <a:pt x="1240" y="39"/>
                  </a:cubicBezTo>
                  <a:cubicBezTo>
                    <a:pt x="1239" y="39"/>
                    <a:pt x="1239" y="39"/>
                    <a:pt x="1239" y="39"/>
                  </a:cubicBezTo>
                  <a:cubicBezTo>
                    <a:pt x="1238" y="45"/>
                    <a:pt x="1237" y="50"/>
                    <a:pt x="1236" y="53"/>
                  </a:cubicBezTo>
                  <a:cubicBezTo>
                    <a:pt x="1205" y="139"/>
                    <a:pt x="1205" y="139"/>
                    <a:pt x="1205" y="139"/>
                  </a:cubicBezTo>
                  <a:lnTo>
                    <a:pt x="1275" y="139"/>
                  </a:lnTo>
                  <a:close/>
                  <a:moveTo>
                    <a:pt x="1459" y="79"/>
                  </a:moveTo>
                  <a:cubicBezTo>
                    <a:pt x="1374" y="197"/>
                    <a:pt x="1374" y="197"/>
                    <a:pt x="1374" y="197"/>
                  </a:cubicBezTo>
                  <a:cubicBezTo>
                    <a:pt x="1458" y="197"/>
                    <a:pt x="1458" y="197"/>
                    <a:pt x="1458" y="197"/>
                  </a:cubicBezTo>
                  <a:cubicBezTo>
                    <a:pt x="1458" y="216"/>
                    <a:pt x="1458" y="216"/>
                    <a:pt x="1458" y="216"/>
                  </a:cubicBezTo>
                  <a:cubicBezTo>
                    <a:pt x="1340" y="216"/>
                    <a:pt x="1340" y="216"/>
                    <a:pt x="1340" y="216"/>
                  </a:cubicBezTo>
                  <a:cubicBezTo>
                    <a:pt x="1340" y="209"/>
                    <a:pt x="1340" y="209"/>
                    <a:pt x="1340" y="209"/>
                  </a:cubicBezTo>
                  <a:cubicBezTo>
                    <a:pt x="1425" y="92"/>
                    <a:pt x="1425" y="92"/>
                    <a:pt x="1425" y="92"/>
                  </a:cubicBezTo>
                  <a:cubicBezTo>
                    <a:pt x="1348" y="92"/>
                    <a:pt x="1348" y="92"/>
                    <a:pt x="1348" y="92"/>
                  </a:cubicBezTo>
                  <a:cubicBezTo>
                    <a:pt x="1348" y="72"/>
                    <a:pt x="1348" y="72"/>
                    <a:pt x="1348" y="72"/>
                  </a:cubicBezTo>
                  <a:cubicBezTo>
                    <a:pt x="1459" y="72"/>
                    <a:pt x="1459" y="72"/>
                    <a:pt x="1459" y="72"/>
                  </a:cubicBezTo>
                  <a:lnTo>
                    <a:pt x="1459" y="79"/>
                  </a:lnTo>
                  <a:close/>
                  <a:moveTo>
                    <a:pt x="1597" y="216"/>
                  </a:moveTo>
                  <a:cubicBezTo>
                    <a:pt x="1574" y="216"/>
                    <a:pt x="1574" y="216"/>
                    <a:pt x="1574" y="216"/>
                  </a:cubicBezTo>
                  <a:cubicBezTo>
                    <a:pt x="1574" y="194"/>
                    <a:pt x="1574" y="194"/>
                    <a:pt x="1574" y="194"/>
                  </a:cubicBezTo>
                  <a:cubicBezTo>
                    <a:pt x="1574" y="194"/>
                    <a:pt x="1574" y="194"/>
                    <a:pt x="1574" y="194"/>
                  </a:cubicBezTo>
                  <a:cubicBezTo>
                    <a:pt x="1564" y="211"/>
                    <a:pt x="1549" y="220"/>
                    <a:pt x="1530" y="220"/>
                  </a:cubicBezTo>
                  <a:cubicBezTo>
                    <a:pt x="1495" y="220"/>
                    <a:pt x="1478" y="199"/>
                    <a:pt x="1478" y="158"/>
                  </a:cubicBezTo>
                  <a:cubicBezTo>
                    <a:pt x="1478" y="72"/>
                    <a:pt x="1478" y="72"/>
                    <a:pt x="1478" y="72"/>
                  </a:cubicBezTo>
                  <a:cubicBezTo>
                    <a:pt x="1501" y="72"/>
                    <a:pt x="1501" y="72"/>
                    <a:pt x="1501" y="72"/>
                  </a:cubicBezTo>
                  <a:cubicBezTo>
                    <a:pt x="1501" y="155"/>
                    <a:pt x="1501" y="155"/>
                    <a:pt x="1501" y="155"/>
                  </a:cubicBezTo>
                  <a:cubicBezTo>
                    <a:pt x="1501" y="185"/>
                    <a:pt x="1513" y="200"/>
                    <a:pt x="1536" y="200"/>
                  </a:cubicBezTo>
                  <a:cubicBezTo>
                    <a:pt x="1547" y="200"/>
                    <a:pt x="1557" y="196"/>
                    <a:pt x="1564" y="188"/>
                  </a:cubicBezTo>
                  <a:cubicBezTo>
                    <a:pt x="1571" y="179"/>
                    <a:pt x="1574" y="169"/>
                    <a:pt x="1574" y="155"/>
                  </a:cubicBezTo>
                  <a:cubicBezTo>
                    <a:pt x="1574" y="72"/>
                    <a:pt x="1574" y="72"/>
                    <a:pt x="1574" y="72"/>
                  </a:cubicBezTo>
                  <a:cubicBezTo>
                    <a:pt x="1597" y="72"/>
                    <a:pt x="1597" y="72"/>
                    <a:pt x="1597" y="72"/>
                  </a:cubicBezTo>
                  <a:lnTo>
                    <a:pt x="1597" y="216"/>
                  </a:lnTo>
                  <a:close/>
                  <a:moveTo>
                    <a:pt x="1711" y="96"/>
                  </a:moveTo>
                  <a:cubicBezTo>
                    <a:pt x="1707" y="93"/>
                    <a:pt x="1701" y="91"/>
                    <a:pt x="1694" y="91"/>
                  </a:cubicBezTo>
                  <a:cubicBezTo>
                    <a:pt x="1684" y="91"/>
                    <a:pt x="1675" y="96"/>
                    <a:pt x="1669" y="105"/>
                  </a:cubicBezTo>
                  <a:cubicBezTo>
                    <a:pt x="1663" y="115"/>
                    <a:pt x="1659" y="128"/>
                    <a:pt x="1659" y="143"/>
                  </a:cubicBezTo>
                  <a:cubicBezTo>
                    <a:pt x="1659" y="216"/>
                    <a:pt x="1659" y="216"/>
                    <a:pt x="1659" y="216"/>
                  </a:cubicBezTo>
                  <a:cubicBezTo>
                    <a:pt x="1636" y="216"/>
                    <a:pt x="1636" y="216"/>
                    <a:pt x="1636" y="216"/>
                  </a:cubicBezTo>
                  <a:cubicBezTo>
                    <a:pt x="1636" y="72"/>
                    <a:pt x="1636" y="72"/>
                    <a:pt x="1636" y="72"/>
                  </a:cubicBezTo>
                  <a:cubicBezTo>
                    <a:pt x="1659" y="72"/>
                    <a:pt x="1659" y="72"/>
                    <a:pt x="1659" y="72"/>
                  </a:cubicBezTo>
                  <a:cubicBezTo>
                    <a:pt x="1659" y="102"/>
                    <a:pt x="1659" y="102"/>
                    <a:pt x="1659" y="102"/>
                  </a:cubicBezTo>
                  <a:cubicBezTo>
                    <a:pt x="1660" y="102"/>
                    <a:pt x="1660" y="102"/>
                    <a:pt x="1660" y="102"/>
                  </a:cubicBezTo>
                  <a:cubicBezTo>
                    <a:pt x="1663" y="92"/>
                    <a:pt x="1668" y="84"/>
                    <a:pt x="1675" y="78"/>
                  </a:cubicBezTo>
                  <a:cubicBezTo>
                    <a:pt x="1681" y="73"/>
                    <a:pt x="1689" y="70"/>
                    <a:pt x="1698" y="70"/>
                  </a:cubicBezTo>
                  <a:cubicBezTo>
                    <a:pt x="1704" y="70"/>
                    <a:pt x="1708" y="70"/>
                    <a:pt x="1711" y="72"/>
                  </a:cubicBezTo>
                  <a:lnTo>
                    <a:pt x="1711" y="96"/>
                  </a:lnTo>
                  <a:close/>
                  <a:moveTo>
                    <a:pt x="1840" y="150"/>
                  </a:moveTo>
                  <a:cubicBezTo>
                    <a:pt x="1738" y="150"/>
                    <a:pt x="1738" y="150"/>
                    <a:pt x="1738" y="150"/>
                  </a:cubicBezTo>
                  <a:cubicBezTo>
                    <a:pt x="1738" y="166"/>
                    <a:pt x="1743" y="179"/>
                    <a:pt x="1751" y="187"/>
                  </a:cubicBezTo>
                  <a:cubicBezTo>
                    <a:pt x="1759" y="196"/>
                    <a:pt x="1770" y="200"/>
                    <a:pt x="1785" y="200"/>
                  </a:cubicBezTo>
                  <a:cubicBezTo>
                    <a:pt x="1801" y="200"/>
                    <a:pt x="1816" y="195"/>
                    <a:pt x="1830" y="184"/>
                  </a:cubicBezTo>
                  <a:cubicBezTo>
                    <a:pt x="1830" y="206"/>
                    <a:pt x="1830" y="206"/>
                    <a:pt x="1830" y="206"/>
                  </a:cubicBezTo>
                  <a:cubicBezTo>
                    <a:pt x="1817" y="215"/>
                    <a:pt x="1800" y="220"/>
                    <a:pt x="1779" y="220"/>
                  </a:cubicBezTo>
                  <a:cubicBezTo>
                    <a:pt x="1759" y="220"/>
                    <a:pt x="1743" y="213"/>
                    <a:pt x="1731" y="200"/>
                  </a:cubicBezTo>
                  <a:cubicBezTo>
                    <a:pt x="1720" y="187"/>
                    <a:pt x="1714" y="168"/>
                    <a:pt x="1714" y="145"/>
                  </a:cubicBezTo>
                  <a:cubicBezTo>
                    <a:pt x="1714" y="131"/>
                    <a:pt x="1717" y="118"/>
                    <a:pt x="1723" y="106"/>
                  </a:cubicBezTo>
                  <a:cubicBezTo>
                    <a:pt x="1728" y="94"/>
                    <a:pt x="1736" y="85"/>
                    <a:pt x="1747" y="79"/>
                  </a:cubicBezTo>
                  <a:cubicBezTo>
                    <a:pt x="1757" y="72"/>
                    <a:pt x="1768" y="69"/>
                    <a:pt x="1780" y="69"/>
                  </a:cubicBezTo>
                  <a:cubicBezTo>
                    <a:pt x="1799" y="69"/>
                    <a:pt x="1814" y="75"/>
                    <a:pt x="1824" y="87"/>
                  </a:cubicBezTo>
                  <a:cubicBezTo>
                    <a:pt x="1834" y="99"/>
                    <a:pt x="1840" y="116"/>
                    <a:pt x="1840" y="138"/>
                  </a:cubicBezTo>
                  <a:lnTo>
                    <a:pt x="1840" y="150"/>
                  </a:lnTo>
                  <a:close/>
                  <a:moveTo>
                    <a:pt x="1816" y="131"/>
                  </a:moveTo>
                  <a:cubicBezTo>
                    <a:pt x="1816" y="117"/>
                    <a:pt x="1813" y="107"/>
                    <a:pt x="1806" y="100"/>
                  </a:cubicBezTo>
                  <a:cubicBezTo>
                    <a:pt x="1800" y="92"/>
                    <a:pt x="1791" y="89"/>
                    <a:pt x="1780" y="89"/>
                  </a:cubicBezTo>
                  <a:cubicBezTo>
                    <a:pt x="1769" y="89"/>
                    <a:pt x="1760" y="92"/>
                    <a:pt x="1753" y="100"/>
                  </a:cubicBezTo>
                  <a:cubicBezTo>
                    <a:pt x="1745" y="108"/>
                    <a:pt x="1740" y="118"/>
                    <a:pt x="1738" y="131"/>
                  </a:cubicBezTo>
                  <a:lnTo>
                    <a:pt x="1816" y="13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505050"/>
                </a:solidFill>
                <a:effectLst/>
                <a:uLnTx/>
                <a:uFillTx/>
              </a:endParaRPr>
            </a:p>
          </p:txBody>
        </p:sp>
        <p:grpSp>
          <p:nvGrpSpPr>
            <p:cNvPr id="21" name="Group 20"/>
            <p:cNvGrpSpPr/>
            <p:nvPr/>
          </p:nvGrpSpPr>
          <p:grpSpPr>
            <a:xfrm>
              <a:off x="5837237" y="3878262"/>
              <a:ext cx="828763" cy="884212"/>
              <a:chOff x="10290107" y="5703966"/>
              <a:chExt cx="635908" cy="678454"/>
            </a:xfrm>
          </p:grpSpPr>
          <p:sp>
            <p:nvSpPr>
              <p:cNvPr id="22" name="Rounded Rectangle 18"/>
              <p:cNvSpPr/>
              <p:nvPr/>
            </p:nvSpPr>
            <p:spPr bwMode="auto">
              <a:xfrm>
                <a:off x="10290107" y="6057502"/>
                <a:ext cx="64008" cy="194039"/>
              </a:xfrm>
              <a:prstGeom prst="roundRect">
                <a:avLst>
                  <a:gd name="adj"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23" name="Rounded Rectangle 165"/>
              <p:cNvSpPr/>
              <p:nvPr/>
            </p:nvSpPr>
            <p:spPr bwMode="auto">
              <a:xfrm>
                <a:off x="10404991" y="6020808"/>
                <a:ext cx="64008" cy="267429"/>
              </a:xfrm>
              <a:prstGeom prst="roundRect">
                <a:avLst>
                  <a:gd name="adj"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38" name="Rounded Rectangle 166"/>
              <p:cNvSpPr/>
              <p:nvPr/>
            </p:nvSpPr>
            <p:spPr bwMode="auto">
              <a:xfrm>
                <a:off x="10519875" y="5973984"/>
                <a:ext cx="82602" cy="363659"/>
              </a:xfrm>
              <a:prstGeom prst="roundRect">
                <a:avLst>
                  <a:gd name="adj"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39" name="Rounded Rectangle 167"/>
              <p:cNvSpPr/>
              <p:nvPr/>
            </p:nvSpPr>
            <p:spPr bwMode="auto">
              <a:xfrm>
                <a:off x="10653354" y="5933281"/>
                <a:ext cx="82602" cy="449139"/>
              </a:xfrm>
              <a:prstGeom prst="roundRect">
                <a:avLst>
                  <a:gd name="adj"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40" name="Freeform 35"/>
              <p:cNvSpPr/>
              <p:nvPr/>
            </p:nvSpPr>
            <p:spPr bwMode="auto">
              <a:xfrm>
                <a:off x="10307923" y="5703966"/>
                <a:ext cx="618092" cy="620134"/>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28575" cap="rnd" cmpd="sng" algn="ctr">
                <a:solidFill>
                  <a:srgbClr val="FFFFFF"/>
                </a:solidFill>
                <a:prstDash val="solid"/>
                <a:headEnd type="none" w="med" len="med"/>
                <a:tailEnd type="none" w="med" len="med"/>
              </a:ln>
              <a:effectLst/>
            </p:spPr>
            <p:txBody>
              <a:bodyPr rtlCol="0" anchor="ctr"/>
              <a:lstStyle/>
              <a:p>
                <a:pPr marL="0" marR="0" lvl="0" indent="0" algn="ctr" defTabSz="89621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prstClr val="white"/>
                  </a:solidFill>
                  <a:effectLst/>
                  <a:uLnTx/>
                  <a:uFillTx/>
                  <a:latin typeface="Segoe UI"/>
                  <a:ea typeface="+mn-ea"/>
                  <a:cs typeface="+mn-cs"/>
                </a:endParaRPr>
              </a:p>
            </p:txBody>
          </p:sp>
        </p:grpSp>
      </p:grpSp>
      <p:grpSp>
        <p:nvGrpSpPr>
          <p:cNvPr id="24" name="Group 23"/>
          <p:cNvGrpSpPr>
            <a:grpSpLocks noChangeAspect="1"/>
          </p:cNvGrpSpPr>
          <p:nvPr/>
        </p:nvGrpSpPr>
        <p:grpSpPr bwMode="black">
          <a:xfrm>
            <a:off x="350838" y="324295"/>
            <a:ext cx="1566574" cy="336325"/>
            <a:chOff x="457200" y="1643393"/>
            <a:chExt cx="4492753" cy="964540"/>
          </a:xfrm>
        </p:grpSpPr>
        <p:pic>
          <p:nvPicPr>
            <p:cNvPr id="25" name="Picture 24"/>
            <p:cNvPicPr>
              <a:picLocks noChangeAspect="1"/>
            </p:cNvPicPr>
            <p:nvPr/>
          </p:nvPicPr>
          <p:blipFill>
            <a:blip r:embed="rId3"/>
            <a:stretch>
              <a:fillRect/>
            </a:stretch>
          </p:blipFill>
          <p:spPr bwMode="black">
            <a:xfrm>
              <a:off x="457200" y="1643393"/>
              <a:ext cx="964540" cy="964540"/>
            </a:xfrm>
            <a:prstGeom prst="rect">
              <a:avLst/>
            </a:prstGeom>
          </p:spPr>
        </p:pic>
        <p:sp>
          <p:nvSpPr>
            <p:cNvPr id="26"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2834671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grpSp>
        <p:nvGrpSpPr>
          <p:cNvPr id="23" name="Group 22"/>
          <p:cNvGrpSpPr>
            <a:grpSpLocks noChangeAspect="1"/>
          </p:cNvGrpSpPr>
          <p:nvPr/>
        </p:nvGrpSpPr>
        <p:grpSpPr bwMode="black">
          <a:xfrm>
            <a:off x="350838" y="324295"/>
            <a:ext cx="1566574" cy="336325"/>
            <a:chOff x="457200" y="1643393"/>
            <a:chExt cx="4492753" cy="964540"/>
          </a:xfrm>
        </p:grpSpPr>
        <p:pic>
          <p:nvPicPr>
            <p:cNvPr id="24" name="Picture 23"/>
            <p:cNvPicPr>
              <a:picLocks noChangeAspect="1"/>
            </p:cNvPicPr>
            <p:nvPr/>
          </p:nvPicPr>
          <p:blipFill>
            <a:blip r:embed="rId2"/>
            <a:stretch>
              <a:fillRect/>
            </a:stretch>
          </p:blipFill>
          <p:spPr bwMode="black">
            <a:xfrm>
              <a:off x="457200" y="1643393"/>
              <a:ext cx="964540" cy="964540"/>
            </a:xfrm>
            <a:prstGeom prst="rect">
              <a:avLst/>
            </a:prstGeom>
          </p:spPr>
        </p:pic>
        <p:sp>
          <p:nvSpPr>
            <p:cNvPr id="25"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16" name="Group 15"/>
          <p:cNvGrpSpPr/>
          <p:nvPr/>
        </p:nvGrpSpPr>
        <p:grpSpPr>
          <a:xfrm>
            <a:off x="2645541" y="2009459"/>
            <a:ext cx="7044865" cy="3059669"/>
            <a:chOff x="2161774" y="1641895"/>
            <a:chExt cx="7186130" cy="3120579"/>
          </a:xfrm>
        </p:grpSpPr>
        <p:sp>
          <p:nvSpPr>
            <p:cNvPr id="17" name="TextBox 16"/>
            <p:cNvSpPr txBox="1"/>
            <p:nvPr/>
          </p:nvSpPr>
          <p:spPr>
            <a:xfrm>
              <a:off x="2161774" y="1641895"/>
              <a:ext cx="7186130" cy="2138486"/>
            </a:xfrm>
            <a:prstGeom prst="rect">
              <a:avLst/>
            </a:prstGeom>
            <a:noFill/>
          </p:spPr>
          <p:txBody>
            <a:bodyPr wrap="none" lIns="182880" tIns="146304" rIns="182880" bIns="146304" rtlCol="0">
              <a:spAutoFit/>
            </a:bodyPr>
            <a:lstStyle/>
            <a:p>
              <a:pPr marL="0" marR="0" lvl="0" indent="0" defTabSz="896214" eaLnBrk="1" fontAlgn="auto" latinLnBrk="0" hangingPunct="1">
                <a:lnSpc>
                  <a:spcPct val="90000"/>
                </a:lnSpc>
                <a:spcBef>
                  <a:spcPts val="0"/>
                </a:spcBef>
                <a:spcAft>
                  <a:spcPts val="587"/>
                </a:spcAft>
                <a:buClrTx/>
                <a:buSzTx/>
                <a:buFontTx/>
                <a:buNone/>
                <a:tabLst/>
                <a:defRPr/>
              </a:pPr>
              <a:r>
                <a:rPr kumimoji="0" lang="en-US" sz="6077" b="0" i="0" u="none" strike="noStrike" kern="0" cap="none" spc="0" normalizeH="0" baseline="0" noProof="0" dirty="0">
                  <a:ln>
                    <a:noFill/>
                  </a:ln>
                  <a:gradFill>
                    <a:gsLst>
                      <a:gs pos="2917">
                        <a:srgbClr val="FFFFFF"/>
                      </a:gs>
                      <a:gs pos="30000">
                        <a:srgbClr val="FFFFFF"/>
                      </a:gs>
                    </a:gsLst>
                    <a:lin ang="5400000" scaled="0"/>
                  </a:gradFill>
                  <a:effectLst/>
                  <a:uLnTx/>
                  <a:uFillTx/>
                </a:rPr>
                <a:t>Microsoft Analytics</a:t>
              </a:r>
            </a:p>
            <a:p>
              <a:pPr marL="0" marR="0" lvl="0" indent="0" defTabSz="896214" eaLnBrk="1" fontAlgn="auto" latinLnBrk="0" hangingPunct="1">
                <a:lnSpc>
                  <a:spcPct val="90000"/>
                </a:lnSpc>
                <a:spcBef>
                  <a:spcPts val="0"/>
                </a:spcBef>
                <a:spcAft>
                  <a:spcPts val="587"/>
                </a:spcAft>
                <a:buClrTx/>
                <a:buSzTx/>
                <a:buFontTx/>
                <a:buNone/>
                <a:tabLst/>
                <a:defRPr/>
              </a:pPr>
              <a:r>
                <a:rPr kumimoji="0" lang="en-US" sz="6077"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rPr>
                <a:t>and BI Partner Airlift</a:t>
              </a:r>
            </a:p>
          </p:txBody>
        </p:sp>
        <p:cxnSp>
          <p:nvCxnSpPr>
            <p:cNvPr id="18" name="Straight Connector 17"/>
            <p:cNvCxnSpPr/>
            <p:nvPr/>
          </p:nvCxnSpPr>
          <p:spPr>
            <a:xfrm>
              <a:off x="2342280" y="3655689"/>
              <a:ext cx="6667251" cy="0"/>
            </a:xfrm>
            <a:prstGeom prst="line">
              <a:avLst/>
            </a:prstGeom>
            <a:noFill/>
            <a:ln w="25400" cap="flat" cmpd="sng" algn="ctr">
              <a:solidFill>
                <a:srgbClr val="FFFFFF"/>
              </a:solidFill>
              <a:prstDash val="solid"/>
              <a:headEnd type="none"/>
              <a:tailEnd type="none"/>
            </a:ln>
            <a:effectLst/>
          </p:spPr>
        </p:cxnSp>
        <p:sp>
          <p:nvSpPr>
            <p:cNvPr id="19" name="TextBox 18"/>
            <p:cNvSpPr txBox="1"/>
            <p:nvPr/>
          </p:nvSpPr>
          <p:spPr>
            <a:xfrm>
              <a:off x="6878386" y="3853980"/>
              <a:ext cx="2347452" cy="858142"/>
            </a:xfrm>
            <a:prstGeom prst="rect">
              <a:avLst/>
            </a:prstGeom>
            <a:noFill/>
          </p:spPr>
          <p:txBody>
            <a:bodyPr wrap="none" lIns="182880" tIns="146304" rIns="182880" bIns="146304" rtlCol="0">
              <a:spAutoFit/>
            </a:bodyPr>
            <a:lstStyle/>
            <a:p>
              <a:pPr marL="0" marR="0" lvl="0" indent="0" defTabSz="896214" eaLnBrk="1" fontAlgn="auto" latinLnBrk="0" hangingPunct="1">
                <a:lnSpc>
                  <a:spcPct val="90000"/>
                </a:lnSpc>
                <a:spcBef>
                  <a:spcPts val="0"/>
                </a:spcBef>
                <a:spcAft>
                  <a:spcPts val="587"/>
                </a:spcAft>
                <a:buClrTx/>
                <a:buSzTx/>
                <a:buFontTx/>
                <a:buNone/>
                <a:tabLst/>
                <a:defRPr/>
              </a:pPr>
              <a:r>
                <a:rPr kumimoji="0" lang="en-US" sz="3823" b="0" i="0" u="none" strike="noStrike" kern="0" cap="none" spc="0" normalizeH="0" baseline="0" noProof="0" dirty="0">
                  <a:ln>
                    <a:noFill/>
                  </a:ln>
                  <a:gradFill>
                    <a:gsLst>
                      <a:gs pos="2917">
                        <a:srgbClr val="FFFFFF"/>
                      </a:gs>
                      <a:gs pos="30000">
                        <a:srgbClr val="FFFFFF"/>
                      </a:gs>
                    </a:gsLst>
                    <a:lin ang="5400000" scaled="0"/>
                  </a:gradFill>
                  <a:effectLst/>
                  <a:uLnTx/>
                  <a:uFillTx/>
                </a:rPr>
                <a:t>Power BI</a:t>
              </a:r>
            </a:p>
          </p:txBody>
        </p:sp>
        <p:sp>
          <p:nvSpPr>
            <p:cNvPr id="20" name="Freeform 8"/>
            <p:cNvSpPr>
              <a:spLocks noChangeAspect="1" noEditPoints="1"/>
            </p:cNvSpPr>
            <p:nvPr/>
          </p:nvSpPr>
          <p:spPr bwMode="black">
            <a:xfrm>
              <a:off x="2411865" y="4021149"/>
              <a:ext cx="2876492" cy="347504"/>
            </a:xfrm>
            <a:custGeom>
              <a:avLst/>
              <a:gdLst>
                <a:gd name="T0" fmla="*/ 184 w 1840"/>
                <a:gd name="T1" fmla="*/ 42 h 220"/>
                <a:gd name="T2" fmla="*/ 97 w 1840"/>
                <a:gd name="T3" fmla="*/ 216 h 220"/>
                <a:gd name="T4" fmla="*/ 23 w 1840"/>
                <a:gd name="T5" fmla="*/ 81 h 220"/>
                <a:gd name="T6" fmla="*/ 31 w 1840"/>
                <a:gd name="T7" fmla="*/ 15 h 220"/>
                <a:gd name="T8" fmla="*/ 113 w 1840"/>
                <a:gd name="T9" fmla="*/ 155 h 220"/>
                <a:gd name="T10" fmla="*/ 275 w 1840"/>
                <a:gd name="T11" fmla="*/ 21 h 220"/>
                <a:gd name="T12" fmla="*/ 244 w 1840"/>
                <a:gd name="T13" fmla="*/ 21 h 220"/>
                <a:gd name="T14" fmla="*/ 275 w 1840"/>
                <a:gd name="T15" fmla="*/ 21 h 220"/>
                <a:gd name="T16" fmla="*/ 271 w 1840"/>
                <a:gd name="T17" fmla="*/ 72 h 220"/>
                <a:gd name="T18" fmla="*/ 332 w 1840"/>
                <a:gd name="T19" fmla="*/ 211 h 220"/>
                <a:gd name="T20" fmla="*/ 373 w 1840"/>
                <a:gd name="T21" fmla="*/ 69 h 220"/>
                <a:gd name="T22" fmla="*/ 336 w 1840"/>
                <a:gd name="T23" fmla="*/ 104 h 220"/>
                <a:gd name="T24" fmla="*/ 407 w 1840"/>
                <a:gd name="T25" fmla="*/ 188 h 220"/>
                <a:gd name="T26" fmla="*/ 466 w 1840"/>
                <a:gd name="T27" fmla="*/ 105 h 220"/>
                <a:gd name="T28" fmla="*/ 434 w 1840"/>
                <a:gd name="T29" fmla="*/ 72 h 220"/>
                <a:gd name="T30" fmla="*/ 472 w 1840"/>
                <a:gd name="T31" fmla="*/ 78 h 220"/>
                <a:gd name="T32" fmla="*/ 653 w 1840"/>
                <a:gd name="T33" fmla="*/ 144 h 220"/>
                <a:gd name="T34" fmla="*/ 511 w 1840"/>
                <a:gd name="T35" fmla="*/ 146 h 220"/>
                <a:gd name="T36" fmla="*/ 653 w 1840"/>
                <a:gd name="T37" fmla="*/ 144 h 220"/>
                <a:gd name="T38" fmla="*/ 548 w 1840"/>
                <a:gd name="T39" fmla="*/ 103 h 220"/>
                <a:gd name="T40" fmla="*/ 618 w 1840"/>
                <a:gd name="T41" fmla="*/ 186 h 220"/>
                <a:gd name="T42" fmla="*/ 707 w 1840"/>
                <a:gd name="T43" fmla="*/ 220 h 220"/>
                <a:gd name="T44" fmla="*/ 736 w 1840"/>
                <a:gd name="T45" fmla="*/ 180 h 220"/>
                <a:gd name="T46" fmla="*/ 671 w 1840"/>
                <a:gd name="T47" fmla="*/ 111 h 220"/>
                <a:gd name="T48" fmla="*/ 753 w 1840"/>
                <a:gd name="T49" fmla="*/ 99 h 220"/>
                <a:gd name="T50" fmla="*/ 700 w 1840"/>
                <a:gd name="T51" fmla="*/ 123 h 220"/>
                <a:gd name="T52" fmla="*/ 916 w 1840"/>
                <a:gd name="T53" fmla="*/ 144 h 220"/>
                <a:gd name="T54" fmla="*/ 775 w 1840"/>
                <a:gd name="T55" fmla="*/ 146 h 220"/>
                <a:gd name="T56" fmla="*/ 916 w 1840"/>
                <a:gd name="T57" fmla="*/ 144 h 220"/>
                <a:gd name="T58" fmla="*/ 811 w 1840"/>
                <a:gd name="T59" fmla="*/ 103 h 220"/>
                <a:gd name="T60" fmla="*/ 881 w 1840"/>
                <a:gd name="T61" fmla="*/ 186 h 220"/>
                <a:gd name="T62" fmla="*/ 971 w 1840"/>
                <a:gd name="T63" fmla="*/ 50 h 220"/>
                <a:gd name="T64" fmla="*/ 971 w 1840"/>
                <a:gd name="T65" fmla="*/ 92 h 220"/>
                <a:gd name="T66" fmla="*/ 923 w 1840"/>
                <a:gd name="T67" fmla="*/ 92 h 220"/>
                <a:gd name="T68" fmla="*/ 961 w 1840"/>
                <a:gd name="T69" fmla="*/ 14 h 220"/>
                <a:gd name="T70" fmla="*/ 1088 w 1840"/>
                <a:gd name="T71" fmla="*/ 215 h 220"/>
                <a:gd name="T72" fmla="*/ 1004 w 1840"/>
                <a:gd name="T73" fmla="*/ 92 h 220"/>
                <a:gd name="T74" fmla="*/ 1052 w 1840"/>
                <a:gd name="T75" fmla="*/ 30 h 220"/>
                <a:gd name="T76" fmla="*/ 1052 w 1840"/>
                <a:gd name="T77" fmla="*/ 92 h 220"/>
                <a:gd name="T78" fmla="*/ 1088 w 1840"/>
                <a:gd name="T79" fmla="*/ 195 h 220"/>
                <a:gd name="T80" fmla="*/ 1282 w 1840"/>
                <a:gd name="T81" fmla="*/ 160 h 220"/>
                <a:gd name="T82" fmla="*/ 1228 w 1840"/>
                <a:gd name="T83" fmla="*/ 15 h 220"/>
                <a:gd name="T84" fmla="*/ 1243 w 1840"/>
                <a:gd name="T85" fmla="*/ 53 h 220"/>
                <a:gd name="T86" fmla="*/ 1205 w 1840"/>
                <a:gd name="T87" fmla="*/ 139 h 220"/>
                <a:gd name="T88" fmla="*/ 1458 w 1840"/>
                <a:gd name="T89" fmla="*/ 197 h 220"/>
                <a:gd name="T90" fmla="*/ 1425 w 1840"/>
                <a:gd name="T91" fmla="*/ 92 h 220"/>
                <a:gd name="T92" fmla="*/ 1459 w 1840"/>
                <a:gd name="T93" fmla="*/ 79 h 220"/>
                <a:gd name="T94" fmla="*/ 1574 w 1840"/>
                <a:gd name="T95" fmla="*/ 194 h 220"/>
                <a:gd name="T96" fmla="*/ 1501 w 1840"/>
                <a:gd name="T97" fmla="*/ 72 h 220"/>
                <a:gd name="T98" fmla="*/ 1574 w 1840"/>
                <a:gd name="T99" fmla="*/ 155 h 220"/>
                <a:gd name="T100" fmla="*/ 1711 w 1840"/>
                <a:gd name="T101" fmla="*/ 96 h 220"/>
                <a:gd name="T102" fmla="*/ 1659 w 1840"/>
                <a:gd name="T103" fmla="*/ 216 h 220"/>
                <a:gd name="T104" fmla="*/ 1659 w 1840"/>
                <a:gd name="T105" fmla="*/ 102 h 220"/>
                <a:gd name="T106" fmla="*/ 1711 w 1840"/>
                <a:gd name="T107" fmla="*/ 72 h 220"/>
                <a:gd name="T108" fmla="*/ 1751 w 1840"/>
                <a:gd name="T109" fmla="*/ 187 h 220"/>
                <a:gd name="T110" fmla="*/ 1779 w 1840"/>
                <a:gd name="T111" fmla="*/ 220 h 220"/>
                <a:gd name="T112" fmla="*/ 1747 w 1840"/>
                <a:gd name="T113" fmla="*/ 79 h 220"/>
                <a:gd name="T114" fmla="*/ 1840 w 1840"/>
                <a:gd name="T115" fmla="*/ 150 h 220"/>
                <a:gd name="T116" fmla="*/ 1753 w 1840"/>
                <a:gd name="T117"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20">
                  <a:moveTo>
                    <a:pt x="206" y="216"/>
                  </a:moveTo>
                  <a:cubicBezTo>
                    <a:pt x="182" y="216"/>
                    <a:pt x="182" y="216"/>
                    <a:pt x="182" y="216"/>
                  </a:cubicBezTo>
                  <a:cubicBezTo>
                    <a:pt x="182" y="81"/>
                    <a:pt x="182" y="81"/>
                    <a:pt x="182" y="81"/>
                  </a:cubicBezTo>
                  <a:cubicBezTo>
                    <a:pt x="182" y="70"/>
                    <a:pt x="183" y="57"/>
                    <a:pt x="184" y="42"/>
                  </a:cubicBezTo>
                  <a:cubicBezTo>
                    <a:pt x="183" y="42"/>
                    <a:pt x="183" y="42"/>
                    <a:pt x="183" y="42"/>
                  </a:cubicBezTo>
                  <a:cubicBezTo>
                    <a:pt x="181" y="51"/>
                    <a:pt x="179" y="57"/>
                    <a:pt x="177" y="61"/>
                  </a:cubicBezTo>
                  <a:cubicBezTo>
                    <a:pt x="108" y="216"/>
                    <a:pt x="108" y="216"/>
                    <a:pt x="108" y="216"/>
                  </a:cubicBezTo>
                  <a:cubicBezTo>
                    <a:pt x="97" y="216"/>
                    <a:pt x="97" y="216"/>
                    <a:pt x="97" y="216"/>
                  </a:cubicBezTo>
                  <a:cubicBezTo>
                    <a:pt x="28" y="63"/>
                    <a:pt x="28" y="63"/>
                    <a:pt x="28" y="63"/>
                  </a:cubicBezTo>
                  <a:cubicBezTo>
                    <a:pt x="26" y="58"/>
                    <a:pt x="24" y="51"/>
                    <a:pt x="22" y="42"/>
                  </a:cubicBezTo>
                  <a:cubicBezTo>
                    <a:pt x="21" y="42"/>
                    <a:pt x="21" y="42"/>
                    <a:pt x="21" y="42"/>
                  </a:cubicBezTo>
                  <a:cubicBezTo>
                    <a:pt x="22" y="50"/>
                    <a:pt x="23" y="63"/>
                    <a:pt x="23" y="81"/>
                  </a:cubicBezTo>
                  <a:cubicBezTo>
                    <a:pt x="23" y="216"/>
                    <a:pt x="23" y="216"/>
                    <a:pt x="23" y="216"/>
                  </a:cubicBezTo>
                  <a:cubicBezTo>
                    <a:pt x="0" y="216"/>
                    <a:pt x="0" y="216"/>
                    <a:pt x="0" y="216"/>
                  </a:cubicBezTo>
                  <a:cubicBezTo>
                    <a:pt x="0" y="15"/>
                    <a:pt x="0" y="15"/>
                    <a:pt x="0" y="15"/>
                  </a:cubicBezTo>
                  <a:cubicBezTo>
                    <a:pt x="31" y="15"/>
                    <a:pt x="31" y="15"/>
                    <a:pt x="31" y="15"/>
                  </a:cubicBezTo>
                  <a:cubicBezTo>
                    <a:pt x="93" y="155"/>
                    <a:pt x="93" y="155"/>
                    <a:pt x="93" y="155"/>
                  </a:cubicBezTo>
                  <a:cubicBezTo>
                    <a:pt x="98" y="166"/>
                    <a:pt x="101" y="174"/>
                    <a:pt x="102" y="180"/>
                  </a:cubicBezTo>
                  <a:cubicBezTo>
                    <a:pt x="103" y="180"/>
                    <a:pt x="103" y="180"/>
                    <a:pt x="103" y="180"/>
                  </a:cubicBezTo>
                  <a:cubicBezTo>
                    <a:pt x="108" y="167"/>
                    <a:pt x="111" y="158"/>
                    <a:pt x="113" y="155"/>
                  </a:cubicBezTo>
                  <a:cubicBezTo>
                    <a:pt x="176" y="15"/>
                    <a:pt x="176" y="15"/>
                    <a:pt x="176" y="15"/>
                  </a:cubicBezTo>
                  <a:cubicBezTo>
                    <a:pt x="206" y="15"/>
                    <a:pt x="206" y="15"/>
                    <a:pt x="206" y="15"/>
                  </a:cubicBezTo>
                  <a:lnTo>
                    <a:pt x="206" y="216"/>
                  </a:lnTo>
                  <a:close/>
                  <a:moveTo>
                    <a:pt x="275" y="21"/>
                  </a:moveTo>
                  <a:cubicBezTo>
                    <a:pt x="275" y="25"/>
                    <a:pt x="273" y="29"/>
                    <a:pt x="270" y="32"/>
                  </a:cubicBezTo>
                  <a:cubicBezTo>
                    <a:pt x="267" y="34"/>
                    <a:pt x="263" y="36"/>
                    <a:pt x="259" y="36"/>
                  </a:cubicBezTo>
                  <a:cubicBezTo>
                    <a:pt x="255" y="36"/>
                    <a:pt x="252" y="34"/>
                    <a:pt x="249" y="32"/>
                  </a:cubicBezTo>
                  <a:cubicBezTo>
                    <a:pt x="246" y="29"/>
                    <a:pt x="244" y="25"/>
                    <a:pt x="244" y="21"/>
                  </a:cubicBezTo>
                  <a:cubicBezTo>
                    <a:pt x="244" y="17"/>
                    <a:pt x="246" y="13"/>
                    <a:pt x="249" y="10"/>
                  </a:cubicBezTo>
                  <a:cubicBezTo>
                    <a:pt x="251" y="7"/>
                    <a:pt x="255" y="6"/>
                    <a:pt x="259" y="6"/>
                  </a:cubicBezTo>
                  <a:cubicBezTo>
                    <a:pt x="264" y="6"/>
                    <a:pt x="267" y="7"/>
                    <a:pt x="270" y="10"/>
                  </a:cubicBezTo>
                  <a:cubicBezTo>
                    <a:pt x="273" y="13"/>
                    <a:pt x="275" y="17"/>
                    <a:pt x="275" y="21"/>
                  </a:cubicBezTo>
                  <a:close/>
                  <a:moveTo>
                    <a:pt x="271" y="216"/>
                  </a:moveTo>
                  <a:cubicBezTo>
                    <a:pt x="248" y="216"/>
                    <a:pt x="248" y="216"/>
                    <a:pt x="248" y="216"/>
                  </a:cubicBezTo>
                  <a:cubicBezTo>
                    <a:pt x="248" y="72"/>
                    <a:pt x="248" y="72"/>
                    <a:pt x="248" y="72"/>
                  </a:cubicBezTo>
                  <a:cubicBezTo>
                    <a:pt x="271" y="72"/>
                    <a:pt x="271" y="72"/>
                    <a:pt x="271" y="72"/>
                  </a:cubicBezTo>
                  <a:lnTo>
                    <a:pt x="271" y="216"/>
                  </a:lnTo>
                  <a:close/>
                  <a:moveTo>
                    <a:pt x="407" y="210"/>
                  </a:moveTo>
                  <a:cubicBezTo>
                    <a:pt x="395" y="216"/>
                    <a:pt x="382" y="220"/>
                    <a:pt x="367" y="220"/>
                  </a:cubicBezTo>
                  <a:cubicBezTo>
                    <a:pt x="354" y="220"/>
                    <a:pt x="342" y="217"/>
                    <a:pt x="332" y="211"/>
                  </a:cubicBezTo>
                  <a:cubicBezTo>
                    <a:pt x="321" y="205"/>
                    <a:pt x="313" y="196"/>
                    <a:pt x="307" y="185"/>
                  </a:cubicBezTo>
                  <a:cubicBezTo>
                    <a:pt x="301" y="174"/>
                    <a:pt x="299" y="162"/>
                    <a:pt x="299" y="148"/>
                  </a:cubicBezTo>
                  <a:cubicBezTo>
                    <a:pt x="299" y="124"/>
                    <a:pt x="305" y="105"/>
                    <a:pt x="319" y="90"/>
                  </a:cubicBezTo>
                  <a:cubicBezTo>
                    <a:pt x="333" y="76"/>
                    <a:pt x="351" y="69"/>
                    <a:pt x="373" y="69"/>
                  </a:cubicBezTo>
                  <a:cubicBezTo>
                    <a:pt x="386" y="69"/>
                    <a:pt x="397" y="71"/>
                    <a:pt x="407" y="76"/>
                  </a:cubicBezTo>
                  <a:cubicBezTo>
                    <a:pt x="407" y="100"/>
                    <a:pt x="407" y="100"/>
                    <a:pt x="407" y="100"/>
                  </a:cubicBezTo>
                  <a:cubicBezTo>
                    <a:pt x="396" y="92"/>
                    <a:pt x="385" y="89"/>
                    <a:pt x="373" y="89"/>
                  </a:cubicBezTo>
                  <a:cubicBezTo>
                    <a:pt x="358" y="89"/>
                    <a:pt x="345" y="94"/>
                    <a:pt x="336" y="104"/>
                  </a:cubicBezTo>
                  <a:cubicBezTo>
                    <a:pt x="327" y="115"/>
                    <a:pt x="322" y="129"/>
                    <a:pt x="322" y="146"/>
                  </a:cubicBezTo>
                  <a:cubicBezTo>
                    <a:pt x="322" y="163"/>
                    <a:pt x="327" y="176"/>
                    <a:pt x="335" y="186"/>
                  </a:cubicBezTo>
                  <a:cubicBezTo>
                    <a:pt x="344" y="195"/>
                    <a:pt x="356" y="200"/>
                    <a:pt x="371" y="200"/>
                  </a:cubicBezTo>
                  <a:cubicBezTo>
                    <a:pt x="384" y="200"/>
                    <a:pt x="395" y="196"/>
                    <a:pt x="407" y="188"/>
                  </a:cubicBezTo>
                  <a:lnTo>
                    <a:pt x="407" y="210"/>
                  </a:lnTo>
                  <a:close/>
                  <a:moveTo>
                    <a:pt x="509" y="96"/>
                  </a:moveTo>
                  <a:cubicBezTo>
                    <a:pt x="505" y="93"/>
                    <a:pt x="499" y="91"/>
                    <a:pt x="491" y="91"/>
                  </a:cubicBezTo>
                  <a:cubicBezTo>
                    <a:pt x="481" y="91"/>
                    <a:pt x="473" y="96"/>
                    <a:pt x="466" y="105"/>
                  </a:cubicBezTo>
                  <a:cubicBezTo>
                    <a:pt x="460" y="115"/>
                    <a:pt x="457" y="128"/>
                    <a:pt x="457" y="143"/>
                  </a:cubicBezTo>
                  <a:cubicBezTo>
                    <a:pt x="457" y="216"/>
                    <a:pt x="457" y="216"/>
                    <a:pt x="457" y="216"/>
                  </a:cubicBezTo>
                  <a:cubicBezTo>
                    <a:pt x="434" y="216"/>
                    <a:pt x="434" y="216"/>
                    <a:pt x="434" y="216"/>
                  </a:cubicBezTo>
                  <a:cubicBezTo>
                    <a:pt x="434" y="72"/>
                    <a:pt x="434" y="72"/>
                    <a:pt x="434" y="72"/>
                  </a:cubicBezTo>
                  <a:cubicBezTo>
                    <a:pt x="457" y="72"/>
                    <a:pt x="457" y="72"/>
                    <a:pt x="457" y="72"/>
                  </a:cubicBezTo>
                  <a:cubicBezTo>
                    <a:pt x="457" y="102"/>
                    <a:pt x="457" y="102"/>
                    <a:pt x="457" y="102"/>
                  </a:cubicBezTo>
                  <a:cubicBezTo>
                    <a:pt x="457" y="102"/>
                    <a:pt x="457" y="102"/>
                    <a:pt x="457" y="102"/>
                  </a:cubicBezTo>
                  <a:cubicBezTo>
                    <a:pt x="460" y="92"/>
                    <a:pt x="465" y="84"/>
                    <a:pt x="472" y="78"/>
                  </a:cubicBezTo>
                  <a:cubicBezTo>
                    <a:pt x="479" y="73"/>
                    <a:pt x="486" y="70"/>
                    <a:pt x="495" y="70"/>
                  </a:cubicBezTo>
                  <a:cubicBezTo>
                    <a:pt x="501" y="70"/>
                    <a:pt x="506" y="70"/>
                    <a:pt x="509" y="72"/>
                  </a:cubicBezTo>
                  <a:lnTo>
                    <a:pt x="509" y="96"/>
                  </a:lnTo>
                  <a:close/>
                  <a:moveTo>
                    <a:pt x="653" y="144"/>
                  </a:moveTo>
                  <a:cubicBezTo>
                    <a:pt x="653" y="167"/>
                    <a:pt x="647" y="185"/>
                    <a:pt x="634" y="199"/>
                  </a:cubicBezTo>
                  <a:cubicBezTo>
                    <a:pt x="621" y="213"/>
                    <a:pt x="603" y="220"/>
                    <a:pt x="581" y="220"/>
                  </a:cubicBezTo>
                  <a:cubicBezTo>
                    <a:pt x="560" y="220"/>
                    <a:pt x="543" y="213"/>
                    <a:pt x="530" y="200"/>
                  </a:cubicBezTo>
                  <a:cubicBezTo>
                    <a:pt x="518" y="186"/>
                    <a:pt x="511" y="168"/>
                    <a:pt x="511" y="146"/>
                  </a:cubicBezTo>
                  <a:cubicBezTo>
                    <a:pt x="511" y="122"/>
                    <a:pt x="518" y="103"/>
                    <a:pt x="531" y="90"/>
                  </a:cubicBezTo>
                  <a:cubicBezTo>
                    <a:pt x="544" y="76"/>
                    <a:pt x="562" y="69"/>
                    <a:pt x="585" y="69"/>
                  </a:cubicBezTo>
                  <a:cubicBezTo>
                    <a:pt x="606" y="69"/>
                    <a:pt x="623" y="76"/>
                    <a:pt x="635" y="89"/>
                  </a:cubicBezTo>
                  <a:cubicBezTo>
                    <a:pt x="647" y="102"/>
                    <a:pt x="653" y="121"/>
                    <a:pt x="653" y="144"/>
                  </a:cubicBezTo>
                  <a:close/>
                  <a:moveTo>
                    <a:pt x="629" y="145"/>
                  </a:moveTo>
                  <a:cubicBezTo>
                    <a:pt x="629" y="127"/>
                    <a:pt x="625" y="113"/>
                    <a:pt x="617" y="103"/>
                  </a:cubicBezTo>
                  <a:cubicBezTo>
                    <a:pt x="609" y="93"/>
                    <a:pt x="598" y="89"/>
                    <a:pt x="583" y="89"/>
                  </a:cubicBezTo>
                  <a:cubicBezTo>
                    <a:pt x="568" y="89"/>
                    <a:pt x="557" y="93"/>
                    <a:pt x="548" y="103"/>
                  </a:cubicBezTo>
                  <a:cubicBezTo>
                    <a:pt x="539" y="113"/>
                    <a:pt x="535" y="127"/>
                    <a:pt x="535" y="145"/>
                  </a:cubicBezTo>
                  <a:cubicBezTo>
                    <a:pt x="535" y="162"/>
                    <a:pt x="539" y="176"/>
                    <a:pt x="548" y="186"/>
                  </a:cubicBezTo>
                  <a:cubicBezTo>
                    <a:pt x="557" y="195"/>
                    <a:pt x="568" y="200"/>
                    <a:pt x="583" y="200"/>
                  </a:cubicBezTo>
                  <a:cubicBezTo>
                    <a:pt x="598" y="200"/>
                    <a:pt x="610" y="195"/>
                    <a:pt x="618" y="186"/>
                  </a:cubicBezTo>
                  <a:cubicBezTo>
                    <a:pt x="625" y="176"/>
                    <a:pt x="629" y="163"/>
                    <a:pt x="629" y="145"/>
                  </a:cubicBezTo>
                  <a:close/>
                  <a:moveTo>
                    <a:pt x="760" y="178"/>
                  </a:moveTo>
                  <a:cubicBezTo>
                    <a:pt x="760" y="190"/>
                    <a:pt x="755" y="200"/>
                    <a:pt x="745" y="208"/>
                  </a:cubicBezTo>
                  <a:cubicBezTo>
                    <a:pt x="736" y="216"/>
                    <a:pt x="723" y="220"/>
                    <a:pt x="707" y="220"/>
                  </a:cubicBezTo>
                  <a:cubicBezTo>
                    <a:pt x="693" y="220"/>
                    <a:pt x="681" y="217"/>
                    <a:pt x="671" y="211"/>
                  </a:cubicBezTo>
                  <a:cubicBezTo>
                    <a:pt x="671" y="186"/>
                    <a:pt x="671" y="186"/>
                    <a:pt x="671" y="186"/>
                  </a:cubicBezTo>
                  <a:cubicBezTo>
                    <a:pt x="683" y="196"/>
                    <a:pt x="695" y="200"/>
                    <a:pt x="709" y="200"/>
                  </a:cubicBezTo>
                  <a:cubicBezTo>
                    <a:pt x="727" y="200"/>
                    <a:pt x="736" y="193"/>
                    <a:pt x="736" y="180"/>
                  </a:cubicBezTo>
                  <a:cubicBezTo>
                    <a:pt x="736" y="175"/>
                    <a:pt x="734" y="170"/>
                    <a:pt x="731" y="167"/>
                  </a:cubicBezTo>
                  <a:cubicBezTo>
                    <a:pt x="727" y="163"/>
                    <a:pt x="719" y="159"/>
                    <a:pt x="706" y="153"/>
                  </a:cubicBezTo>
                  <a:cubicBezTo>
                    <a:pt x="694" y="148"/>
                    <a:pt x="685" y="142"/>
                    <a:pt x="679" y="135"/>
                  </a:cubicBezTo>
                  <a:cubicBezTo>
                    <a:pt x="674" y="129"/>
                    <a:pt x="671" y="121"/>
                    <a:pt x="671" y="111"/>
                  </a:cubicBezTo>
                  <a:cubicBezTo>
                    <a:pt x="671" y="99"/>
                    <a:pt x="676" y="89"/>
                    <a:pt x="686" y="81"/>
                  </a:cubicBezTo>
                  <a:cubicBezTo>
                    <a:pt x="695" y="73"/>
                    <a:pt x="708" y="69"/>
                    <a:pt x="722" y="69"/>
                  </a:cubicBezTo>
                  <a:cubicBezTo>
                    <a:pt x="734" y="69"/>
                    <a:pt x="744" y="71"/>
                    <a:pt x="753" y="76"/>
                  </a:cubicBezTo>
                  <a:cubicBezTo>
                    <a:pt x="753" y="99"/>
                    <a:pt x="753" y="99"/>
                    <a:pt x="753" y="99"/>
                  </a:cubicBezTo>
                  <a:cubicBezTo>
                    <a:pt x="744" y="92"/>
                    <a:pt x="733" y="89"/>
                    <a:pt x="720" y="89"/>
                  </a:cubicBezTo>
                  <a:cubicBezTo>
                    <a:pt x="713" y="89"/>
                    <a:pt x="707" y="90"/>
                    <a:pt x="702" y="94"/>
                  </a:cubicBezTo>
                  <a:cubicBezTo>
                    <a:pt x="697" y="98"/>
                    <a:pt x="695" y="103"/>
                    <a:pt x="695" y="109"/>
                  </a:cubicBezTo>
                  <a:cubicBezTo>
                    <a:pt x="695" y="115"/>
                    <a:pt x="697" y="120"/>
                    <a:pt x="700" y="123"/>
                  </a:cubicBezTo>
                  <a:cubicBezTo>
                    <a:pt x="704" y="127"/>
                    <a:pt x="711" y="131"/>
                    <a:pt x="723" y="135"/>
                  </a:cubicBezTo>
                  <a:cubicBezTo>
                    <a:pt x="736" y="141"/>
                    <a:pt x="746" y="147"/>
                    <a:pt x="751" y="154"/>
                  </a:cubicBezTo>
                  <a:cubicBezTo>
                    <a:pt x="757" y="160"/>
                    <a:pt x="760" y="168"/>
                    <a:pt x="760" y="178"/>
                  </a:cubicBezTo>
                  <a:close/>
                  <a:moveTo>
                    <a:pt x="916" y="144"/>
                  </a:moveTo>
                  <a:cubicBezTo>
                    <a:pt x="916" y="167"/>
                    <a:pt x="910" y="185"/>
                    <a:pt x="897" y="199"/>
                  </a:cubicBezTo>
                  <a:cubicBezTo>
                    <a:pt x="884" y="213"/>
                    <a:pt x="867" y="220"/>
                    <a:pt x="845" y="220"/>
                  </a:cubicBezTo>
                  <a:cubicBezTo>
                    <a:pt x="823" y="220"/>
                    <a:pt x="806" y="213"/>
                    <a:pt x="794" y="200"/>
                  </a:cubicBezTo>
                  <a:cubicBezTo>
                    <a:pt x="781" y="186"/>
                    <a:pt x="775" y="168"/>
                    <a:pt x="775" y="146"/>
                  </a:cubicBezTo>
                  <a:cubicBezTo>
                    <a:pt x="775" y="122"/>
                    <a:pt x="781" y="103"/>
                    <a:pt x="794" y="90"/>
                  </a:cubicBezTo>
                  <a:cubicBezTo>
                    <a:pt x="807" y="76"/>
                    <a:pt x="825" y="69"/>
                    <a:pt x="848" y="69"/>
                  </a:cubicBezTo>
                  <a:cubicBezTo>
                    <a:pt x="869" y="69"/>
                    <a:pt x="886" y="76"/>
                    <a:pt x="898" y="89"/>
                  </a:cubicBezTo>
                  <a:cubicBezTo>
                    <a:pt x="910" y="102"/>
                    <a:pt x="916" y="121"/>
                    <a:pt x="916" y="144"/>
                  </a:cubicBezTo>
                  <a:close/>
                  <a:moveTo>
                    <a:pt x="893" y="145"/>
                  </a:moveTo>
                  <a:cubicBezTo>
                    <a:pt x="893" y="127"/>
                    <a:pt x="889" y="113"/>
                    <a:pt x="881" y="103"/>
                  </a:cubicBezTo>
                  <a:cubicBezTo>
                    <a:pt x="873" y="93"/>
                    <a:pt x="861" y="89"/>
                    <a:pt x="846" y="89"/>
                  </a:cubicBezTo>
                  <a:cubicBezTo>
                    <a:pt x="832" y="89"/>
                    <a:pt x="820" y="93"/>
                    <a:pt x="811" y="103"/>
                  </a:cubicBezTo>
                  <a:cubicBezTo>
                    <a:pt x="803" y="113"/>
                    <a:pt x="798" y="127"/>
                    <a:pt x="798" y="145"/>
                  </a:cubicBezTo>
                  <a:cubicBezTo>
                    <a:pt x="798" y="162"/>
                    <a:pt x="803" y="176"/>
                    <a:pt x="811" y="186"/>
                  </a:cubicBezTo>
                  <a:cubicBezTo>
                    <a:pt x="820" y="195"/>
                    <a:pt x="832" y="200"/>
                    <a:pt x="846" y="200"/>
                  </a:cubicBezTo>
                  <a:cubicBezTo>
                    <a:pt x="861" y="200"/>
                    <a:pt x="873" y="195"/>
                    <a:pt x="881" y="186"/>
                  </a:cubicBezTo>
                  <a:cubicBezTo>
                    <a:pt x="889" y="176"/>
                    <a:pt x="893" y="163"/>
                    <a:pt x="893" y="145"/>
                  </a:cubicBezTo>
                  <a:close/>
                  <a:moveTo>
                    <a:pt x="1010" y="23"/>
                  </a:moveTo>
                  <a:cubicBezTo>
                    <a:pt x="1006" y="21"/>
                    <a:pt x="1001" y="20"/>
                    <a:pt x="995" y="20"/>
                  </a:cubicBezTo>
                  <a:cubicBezTo>
                    <a:pt x="979" y="20"/>
                    <a:pt x="971" y="30"/>
                    <a:pt x="971" y="50"/>
                  </a:cubicBezTo>
                  <a:cubicBezTo>
                    <a:pt x="971" y="72"/>
                    <a:pt x="971" y="72"/>
                    <a:pt x="971" y="72"/>
                  </a:cubicBezTo>
                  <a:cubicBezTo>
                    <a:pt x="1005" y="72"/>
                    <a:pt x="1005" y="72"/>
                    <a:pt x="1005" y="72"/>
                  </a:cubicBezTo>
                  <a:cubicBezTo>
                    <a:pt x="1005" y="92"/>
                    <a:pt x="1005" y="92"/>
                    <a:pt x="1005" y="92"/>
                  </a:cubicBezTo>
                  <a:cubicBezTo>
                    <a:pt x="971" y="92"/>
                    <a:pt x="971" y="92"/>
                    <a:pt x="971" y="92"/>
                  </a:cubicBezTo>
                  <a:cubicBezTo>
                    <a:pt x="971" y="216"/>
                    <a:pt x="971" y="216"/>
                    <a:pt x="971" y="216"/>
                  </a:cubicBezTo>
                  <a:cubicBezTo>
                    <a:pt x="948" y="216"/>
                    <a:pt x="948" y="216"/>
                    <a:pt x="948" y="216"/>
                  </a:cubicBezTo>
                  <a:cubicBezTo>
                    <a:pt x="948" y="92"/>
                    <a:pt x="948" y="92"/>
                    <a:pt x="948" y="92"/>
                  </a:cubicBezTo>
                  <a:cubicBezTo>
                    <a:pt x="923" y="92"/>
                    <a:pt x="923" y="92"/>
                    <a:pt x="923" y="92"/>
                  </a:cubicBezTo>
                  <a:cubicBezTo>
                    <a:pt x="923" y="72"/>
                    <a:pt x="923" y="72"/>
                    <a:pt x="923" y="72"/>
                  </a:cubicBezTo>
                  <a:cubicBezTo>
                    <a:pt x="948" y="72"/>
                    <a:pt x="948" y="72"/>
                    <a:pt x="948" y="72"/>
                  </a:cubicBezTo>
                  <a:cubicBezTo>
                    <a:pt x="948" y="49"/>
                    <a:pt x="948" y="49"/>
                    <a:pt x="948" y="49"/>
                  </a:cubicBezTo>
                  <a:cubicBezTo>
                    <a:pt x="948" y="34"/>
                    <a:pt x="952" y="23"/>
                    <a:pt x="961" y="14"/>
                  </a:cubicBezTo>
                  <a:cubicBezTo>
                    <a:pt x="969" y="5"/>
                    <a:pt x="980" y="0"/>
                    <a:pt x="994" y="0"/>
                  </a:cubicBezTo>
                  <a:cubicBezTo>
                    <a:pt x="1001" y="0"/>
                    <a:pt x="1006" y="1"/>
                    <a:pt x="1010" y="3"/>
                  </a:cubicBezTo>
                  <a:lnTo>
                    <a:pt x="1010" y="23"/>
                  </a:lnTo>
                  <a:close/>
                  <a:moveTo>
                    <a:pt x="1088" y="215"/>
                  </a:moveTo>
                  <a:cubicBezTo>
                    <a:pt x="1083" y="218"/>
                    <a:pt x="1076" y="220"/>
                    <a:pt x="1067" y="220"/>
                  </a:cubicBezTo>
                  <a:cubicBezTo>
                    <a:pt x="1042" y="220"/>
                    <a:pt x="1029" y="205"/>
                    <a:pt x="1029" y="177"/>
                  </a:cubicBezTo>
                  <a:cubicBezTo>
                    <a:pt x="1029" y="92"/>
                    <a:pt x="1029" y="92"/>
                    <a:pt x="1029" y="92"/>
                  </a:cubicBezTo>
                  <a:cubicBezTo>
                    <a:pt x="1004" y="92"/>
                    <a:pt x="1004" y="92"/>
                    <a:pt x="1004" y="92"/>
                  </a:cubicBezTo>
                  <a:cubicBezTo>
                    <a:pt x="1004" y="72"/>
                    <a:pt x="1004" y="72"/>
                    <a:pt x="1004" y="72"/>
                  </a:cubicBezTo>
                  <a:cubicBezTo>
                    <a:pt x="1029" y="72"/>
                    <a:pt x="1029" y="72"/>
                    <a:pt x="1029" y="72"/>
                  </a:cubicBezTo>
                  <a:cubicBezTo>
                    <a:pt x="1029" y="37"/>
                    <a:pt x="1029" y="37"/>
                    <a:pt x="1029" y="37"/>
                  </a:cubicBezTo>
                  <a:cubicBezTo>
                    <a:pt x="1052" y="30"/>
                    <a:pt x="1052" y="30"/>
                    <a:pt x="1052" y="30"/>
                  </a:cubicBezTo>
                  <a:cubicBezTo>
                    <a:pt x="1052" y="72"/>
                    <a:pt x="1052" y="72"/>
                    <a:pt x="1052" y="72"/>
                  </a:cubicBezTo>
                  <a:cubicBezTo>
                    <a:pt x="1088" y="72"/>
                    <a:pt x="1088" y="72"/>
                    <a:pt x="1088" y="72"/>
                  </a:cubicBezTo>
                  <a:cubicBezTo>
                    <a:pt x="1088" y="92"/>
                    <a:pt x="1088" y="92"/>
                    <a:pt x="1088" y="92"/>
                  </a:cubicBezTo>
                  <a:cubicBezTo>
                    <a:pt x="1052" y="92"/>
                    <a:pt x="1052" y="92"/>
                    <a:pt x="1052" y="92"/>
                  </a:cubicBezTo>
                  <a:cubicBezTo>
                    <a:pt x="1052" y="173"/>
                    <a:pt x="1052" y="173"/>
                    <a:pt x="1052" y="173"/>
                  </a:cubicBezTo>
                  <a:cubicBezTo>
                    <a:pt x="1052" y="183"/>
                    <a:pt x="1054" y="190"/>
                    <a:pt x="1057" y="194"/>
                  </a:cubicBezTo>
                  <a:cubicBezTo>
                    <a:pt x="1060" y="198"/>
                    <a:pt x="1066" y="200"/>
                    <a:pt x="1073" y="200"/>
                  </a:cubicBezTo>
                  <a:cubicBezTo>
                    <a:pt x="1079" y="200"/>
                    <a:pt x="1084" y="198"/>
                    <a:pt x="1088" y="195"/>
                  </a:cubicBezTo>
                  <a:lnTo>
                    <a:pt x="1088" y="215"/>
                  </a:lnTo>
                  <a:close/>
                  <a:moveTo>
                    <a:pt x="1330" y="216"/>
                  </a:moveTo>
                  <a:cubicBezTo>
                    <a:pt x="1304" y="216"/>
                    <a:pt x="1304" y="216"/>
                    <a:pt x="1304" y="216"/>
                  </a:cubicBezTo>
                  <a:cubicBezTo>
                    <a:pt x="1282" y="160"/>
                    <a:pt x="1282" y="160"/>
                    <a:pt x="1282" y="160"/>
                  </a:cubicBezTo>
                  <a:cubicBezTo>
                    <a:pt x="1197" y="160"/>
                    <a:pt x="1197" y="160"/>
                    <a:pt x="1197" y="160"/>
                  </a:cubicBezTo>
                  <a:cubicBezTo>
                    <a:pt x="1177" y="216"/>
                    <a:pt x="1177" y="216"/>
                    <a:pt x="1177" y="216"/>
                  </a:cubicBezTo>
                  <a:cubicBezTo>
                    <a:pt x="1151" y="216"/>
                    <a:pt x="1151" y="216"/>
                    <a:pt x="1151" y="216"/>
                  </a:cubicBezTo>
                  <a:cubicBezTo>
                    <a:pt x="1228" y="15"/>
                    <a:pt x="1228" y="15"/>
                    <a:pt x="1228" y="15"/>
                  </a:cubicBezTo>
                  <a:cubicBezTo>
                    <a:pt x="1252" y="15"/>
                    <a:pt x="1252" y="15"/>
                    <a:pt x="1252" y="15"/>
                  </a:cubicBezTo>
                  <a:lnTo>
                    <a:pt x="1330" y="216"/>
                  </a:lnTo>
                  <a:close/>
                  <a:moveTo>
                    <a:pt x="1275" y="139"/>
                  </a:moveTo>
                  <a:cubicBezTo>
                    <a:pt x="1243" y="53"/>
                    <a:pt x="1243" y="53"/>
                    <a:pt x="1243" y="53"/>
                  </a:cubicBezTo>
                  <a:cubicBezTo>
                    <a:pt x="1242" y="51"/>
                    <a:pt x="1241" y="46"/>
                    <a:pt x="1240" y="39"/>
                  </a:cubicBezTo>
                  <a:cubicBezTo>
                    <a:pt x="1239" y="39"/>
                    <a:pt x="1239" y="39"/>
                    <a:pt x="1239" y="39"/>
                  </a:cubicBezTo>
                  <a:cubicBezTo>
                    <a:pt x="1238" y="45"/>
                    <a:pt x="1237" y="50"/>
                    <a:pt x="1236" y="53"/>
                  </a:cubicBezTo>
                  <a:cubicBezTo>
                    <a:pt x="1205" y="139"/>
                    <a:pt x="1205" y="139"/>
                    <a:pt x="1205" y="139"/>
                  </a:cubicBezTo>
                  <a:lnTo>
                    <a:pt x="1275" y="139"/>
                  </a:lnTo>
                  <a:close/>
                  <a:moveTo>
                    <a:pt x="1459" y="79"/>
                  </a:moveTo>
                  <a:cubicBezTo>
                    <a:pt x="1374" y="197"/>
                    <a:pt x="1374" y="197"/>
                    <a:pt x="1374" y="197"/>
                  </a:cubicBezTo>
                  <a:cubicBezTo>
                    <a:pt x="1458" y="197"/>
                    <a:pt x="1458" y="197"/>
                    <a:pt x="1458" y="197"/>
                  </a:cubicBezTo>
                  <a:cubicBezTo>
                    <a:pt x="1458" y="216"/>
                    <a:pt x="1458" y="216"/>
                    <a:pt x="1458" y="216"/>
                  </a:cubicBezTo>
                  <a:cubicBezTo>
                    <a:pt x="1340" y="216"/>
                    <a:pt x="1340" y="216"/>
                    <a:pt x="1340" y="216"/>
                  </a:cubicBezTo>
                  <a:cubicBezTo>
                    <a:pt x="1340" y="209"/>
                    <a:pt x="1340" y="209"/>
                    <a:pt x="1340" y="209"/>
                  </a:cubicBezTo>
                  <a:cubicBezTo>
                    <a:pt x="1425" y="92"/>
                    <a:pt x="1425" y="92"/>
                    <a:pt x="1425" y="92"/>
                  </a:cubicBezTo>
                  <a:cubicBezTo>
                    <a:pt x="1348" y="92"/>
                    <a:pt x="1348" y="92"/>
                    <a:pt x="1348" y="92"/>
                  </a:cubicBezTo>
                  <a:cubicBezTo>
                    <a:pt x="1348" y="72"/>
                    <a:pt x="1348" y="72"/>
                    <a:pt x="1348" y="72"/>
                  </a:cubicBezTo>
                  <a:cubicBezTo>
                    <a:pt x="1459" y="72"/>
                    <a:pt x="1459" y="72"/>
                    <a:pt x="1459" y="72"/>
                  </a:cubicBezTo>
                  <a:lnTo>
                    <a:pt x="1459" y="79"/>
                  </a:lnTo>
                  <a:close/>
                  <a:moveTo>
                    <a:pt x="1597" y="216"/>
                  </a:moveTo>
                  <a:cubicBezTo>
                    <a:pt x="1574" y="216"/>
                    <a:pt x="1574" y="216"/>
                    <a:pt x="1574" y="216"/>
                  </a:cubicBezTo>
                  <a:cubicBezTo>
                    <a:pt x="1574" y="194"/>
                    <a:pt x="1574" y="194"/>
                    <a:pt x="1574" y="194"/>
                  </a:cubicBezTo>
                  <a:cubicBezTo>
                    <a:pt x="1574" y="194"/>
                    <a:pt x="1574" y="194"/>
                    <a:pt x="1574" y="194"/>
                  </a:cubicBezTo>
                  <a:cubicBezTo>
                    <a:pt x="1564" y="211"/>
                    <a:pt x="1549" y="220"/>
                    <a:pt x="1530" y="220"/>
                  </a:cubicBezTo>
                  <a:cubicBezTo>
                    <a:pt x="1495" y="220"/>
                    <a:pt x="1478" y="199"/>
                    <a:pt x="1478" y="158"/>
                  </a:cubicBezTo>
                  <a:cubicBezTo>
                    <a:pt x="1478" y="72"/>
                    <a:pt x="1478" y="72"/>
                    <a:pt x="1478" y="72"/>
                  </a:cubicBezTo>
                  <a:cubicBezTo>
                    <a:pt x="1501" y="72"/>
                    <a:pt x="1501" y="72"/>
                    <a:pt x="1501" y="72"/>
                  </a:cubicBezTo>
                  <a:cubicBezTo>
                    <a:pt x="1501" y="155"/>
                    <a:pt x="1501" y="155"/>
                    <a:pt x="1501" y="155"/>
                  </a:cubicBezTo>
                  <a:cubicBezTo>
                    <a:pt x="1501" y="185"/>
                    <a:pt x="1513" y="200"/>
                    <a:pt x="1536" y="200"/>
                  </a:cubicBezTo>
                  <a:cubicBezTo>
                    <a:pt x="1547" y="200"/>
                    <a:pt x="1557" y="196"/>
                    <a:pt x="1564" y="188"/>
                  </a:cubicBezTo>
                  <a:cubicBezTo>
                    <a:pt x="1571" y="179"/>
                    <a:pt x="1574" y="169"/>
                    <a:pt x="1574" y="155"/>
                  </a:cubicBezTo>
                  <a:cubicBezTo>
                    <a:pt x="1574" y="72"/>
                    <a:pt x="1574" y="72"/>
                    <a:pt x="1574" y="72"/>
                  </a:cubicBezTo>
                  <a:cubicBezTo>
                    <a:pt x="1597" y="72"/>
                    <a:pt x="1597" y="72"/>
                    <a:pt x="1597" y="72"/>
                  </a:cubicBezTo>
                  <a:lnTo>
                    <a:pt x="1597" y="216"/>
                  </a:lnTo>
                  <a:close/>
                  <a:moveTo>
                    <a:pt x="1711" y="96"/>
                  </a:moveTo>
                  <a:cubicBezTo>
                    <a:pt x="1707" y="93"/>
                    <a:pt x="1701" y="91"/>
                    <a:pt x="1694" y="91"/>
                  </a:cubicBezTo>
                  <a:cubicBezTo>
                    <a:pt x="1684" y="91"/>
                    <a:pt x="1675" y="96"/>
                    <a:pt x="1669" y="105"/>
                  </a:cubicBezTo>
                  <a:cubicBezTo>
                    <a:pt x="1663" y="115"/>
                    <a:pt x="1659" y="128"/>
                    <a:pt x="1659" y="143"/>
                  </a:cubicBezTo>
                  <a:cubicBezTo>
                    <a:pt x="1659" y="216"/>
                    <a:pt x="1659" y="216"/>
                    <a:pt x="1659" y="216"/>
                  </a:cubicBezTo>
                  <a:cubicBezTo>
                    <a:pt x="1636" y="216"/>
                    <a:pt x="1636" y="216"/>
                    <a:pt x="1636" y="216"/>
                  </a:cubicBezTo>
                  <a:cubicBezTo>
                    <a:pt x="1636" y="72"/>
                    <a:pt x="1636" y="72"/>
                    <a:pt x="1636" y="72"/>
                  </a:cubicBezTo>
                  <a:cubicBezTo>
                    <a:pt x="1659" y="72"/>
                    <a:pt x="1659" y="72"/>
                    <a:pt x="1659" y="72"/>
                  </a:cubicBezTo>
                  <a:cubicBezTo>
                    <a:pt x="1659" y="102"/>
                    <a:pt x="1659" y="102"/>
                    <a:pt x="1659" y="102"/>
                  </a:cubicBezTo>
                  <a:cubicBezTo>
                    <a:pt x="1660" y="102"/>
                    <a:pt x="1660" y="102"/>
                    <a:pt x="1660" y="102"/>
                  </a:cubicBezTo>
                  <a:cubicBezTo>
                    <a:pt x="1663" y="92"/>
                    <a:pt x="1668" y="84"/>
                    <a:pt x="1675" y="78"/>
                  </a:cubicBezTo>
                  <a:cubicBezTo>
                    <a:pt x="1681" y="73"/>
                    <a:pt x="1689" y="70"/>
                    <a:pt x="1698" y="70"/>
                  </a:cubicBezTo>
                  <a:cubicBezTo>
                    <a:pt x="1704" y="70"/>
                    <a:pt x="1708" y="70"/>
                    <a:pt x="1711" y="72"/>
                  </a:cubicBezTo>
                  <a:lnTo>
                    <a:pt x="1711" y="96"/>
                  </a:lnTo>
                  <a:close/>
                  <a:moveTo>
                    <a:pt x="1840" y="150"/>
                  </a:moveTo>
                  <a:cubicBezTo>
                    <a:pt x="1738" y="150"/>
                    <a:pt x="1738" y="150"/>
                    <a:pt x="1738" y="150"/>
                  </a:cubicBezTo>
                  <a:cubicBezTo>
                    <a:pt x="1738" y="166"/>
                    <a:pt x="1743" y="179"/>
                    <a:pt x="1751" y="187"/>
                  </a:cubicBezTo>
                  <a:cubicBezTo>
                    <a:pt x="1759" y="196"/>
                    <a:pt x="1770" y="200"/>
                    <a:pt x="1785" y="200"/>
                  </a:cubicBezTo>
                  <a:cubicBezTo>
                    <a:pt x="1801" y="200"/>
                    <a:pt x="1816" y="195"/>
                    <a:pt x="1830" y="184"/>
                  </a:cubicBezTo>
                  <a:cubicBezTo>
                    <a:pt x="1830" y="206"/>
                    <a:pt x="1830" y="206"/>
                    <a:pt x="1830" y="206"/>
                  </a:cubicBezTo>
                  <a:cubicBezTo>
                    <a:pt x="1817" y="215"/>
                    <a:pt x="1800" y="220"/>
                    <a:pt x="1779" y="220"/>
                  </a:cubicBezTo>
                  <a:cubicBezTo>
                    <a:pt x="1759" y="220"/>
                    <a:pt x="1743" y="213"/>
                    <a:pt x="1731" y="200"/>
                  </a:cubicBezTo>
                  <a:cubicBezTo>
                    <a:pt x="1720" y="187"/>
                    <a:pt x="1714" y="168"/>
                    <a:pt x="1714" y="145"/>
                  </a:cubicBezTo>
                  <a:cubicBezTo>
                    <a:pt x="1714" y="131"/>
                    <a:pt x="1717" y="118"/>
                    <a:pt x="1723" y="106"/>
                  </a:cubicBezTo>
                  <a:cubicBezTo>
                    <a:pt x="1728" y="94"/>
                    <a:pt x="1736" y="85"/>
                    <a:pt x="1747" y="79"/>
                  </a:cubicBezTo>
                  <a:cubicBezTo>
                    <a:pt x="1757" y="72"/>
                    <a:pt x="1768" y="69"/>
                    <a:pt x="1780" y="69"/>
                  </a:cubicBezTo>
                  <a:cubicBezTo>
                    <a:pt x="1799" y="69"/>
                    <a:pt x="1814" y="75"/>
                    <a:pt x="1824" y="87"/>
                  </a:cubicBezTo>
                  <a:cubicBezTo>
                    <a:pt x="1834" y="99"/>
                    <a:pt x="1840" y="116"/>
                    <a:pt x="1840" y="138"/>
                  </a:cubicBezTo>
                  <a:lnTo>
                    <a:pt x="1840" y="150"/>
                  </a:lnTo>
                  <a:close/>
                  <a:moveTo>
                    <a:pt x="1816" y="131"/>
                  </a:moveTo>
                  <a:cubicBezTo>
                    <a:pt x="1816" y="117"/>
                    <a:pt x="1813" y="107"/>
                    <a:pt x="1806" y="100"/>
                  </a:cubicBezTo>
                  <a:cubicBezTo>
                    <a:pt x="1800" y="92"/>
                    <a:pt x="1791" y="89"/>
                    <a:pt x="1780" y="89"/>
                  </a:cubicBezTo>
                  <a:cubicBezTo>
                    <a:pt x="1769" y="89"/>
                    <a:pt x="1760" y="92"/>
                    <a:pt x="1753" y="100"/>
                  </a:cubicBezTo>
                  <a:cubicBezTo>
                    <a:pt x="1745" y="108"/>
                    <a:pt x="1740" y="118"/>
                    <a:pt x="1738" y="131"/>
                  </a:cubicBezTo>
                  <a:lnTo>
                    <a:pt x="1816" y="13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89621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505050"/>
                </a:solidFill>
                <a:effectLst/>
                <a:uLnTx/>
                <a:uFillTx/>
              </a:endParaRPr>
            </a:p>
          </p:txBody>
        </p:sp>
        <p:grpSp>
          <p:nvGrpSpPr>
            <p:cNvPr id="21" name="Group 20"/>
            <p:cNvGrpSpPr/>
            <p:nvPr/>
          </p:nvGrpSpPr>
          <p:grpSpPr>
            <a:xfrm>
              <a:off x="5837237" y="3878262"/>
              <a:ext cx="828763" cy="884212"/>
              <a:chOff x="10290107" y="5703966"/>
              <a:chExt cx="635908" cy="678454"/>
            </a:xfrm>
          </p:grpSpPr>
          <p:sp>
            <p:nvSpPr>
              <p:cNvPr id="22" name="Rounded Rectangle 18"/>
              <p:cNvSpPr/>
              <p:nvPr/>
            </p:nvSpPr>
            <p:spPr bwMode="auto">
              <a:xfrm>
                <a:off x="10290107" y="6057502"/>
                <a:ext cx="64008" cy="194039"/>
              </a:xfrm>
              <a:prstGeom prst="roundRect">
                <a:avLst>
                  <a:gd name="adj"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37" name="Rounded Rectangle 165"/>
              <p:cNvSpPr/>
              <p:nvPr/>
            </p:nvSpPr>
            <p:spPr bwMode="auto">
              <a:xfrm>
                <a:off x="10404991" y="6020808"/>
                <a:ext cx="64008" cy="267429"/>
              </a:xfrm>
              <a:prstGeom prst="roundRect">
                <a:avLst>
                  <a:gd name="adj"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38" name="Rounded Rectangle 166"/>
              <p:cNvSpPr/>
              <p:nvPr/>
            </p:nvSpPr>
            <p:spPr bwMode="auto">
              <a:xfrm>
                <a:off x="10519875" y="5973984"/>
                <a:ext cx="82602" cy="363659"/>
              </a:xfrm>
              <a:prstGeom prst="roundRect">
                <a:avLst>
                  <a:gd name="adj"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39" name="Rounded Rectangle 167"/>
              <p:cNvSpPr/>
              <p:nvPr/>
            </p:nvSpPr>
            <p:spPr bwMode="auto">
              <a:xfrm>
                <a:off x="10653354" y="5933281"/>
                <a:ext cx="82602" cy="449139"/>
              </a:xfrm>
              <a:prstGeom prst="roundRect">
                <a:avLst>
                  <a:gd name="adj"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6" eaLnBrk="1" fontAlgn="auto" latinLnBrk="0" hangingPunct="1">
                  <a:lnSpc>
                    <a:spcPct val="90000"/>
                  </a:lnSpc>
                  <a:spcBef>
                    <a:spcPts val="0"/>
                  </a:spcBef>
                  <a:spcAft>
                    <a:spcPts val="0"/>
                  </a:spcAft>
                  <a:buClrTx/>
                  <a:buSzTx/>
                  <a:buFontTx/>
                  <a:buNone/>
                  <a:tabLst/>
                  <a:defRPr/>
                </a:pPr>
                <a:endParaRPr kumimoji="0" lang="en-US" sz="196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40" name="Freeform 35"/>
              <p:cNvSpPr/>
              <p:nvPr/>
            </p:nvSpPr>
            <p:spPr bwMode="auto">
              <a:xfrm>
                <a:off x="10307923" y="5703966"/>
                <a:ext cx="618092" cy="620134"/>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28575" cap="rnd" cmpd="sng" algn="ctr">
                <a:solidFill>
                  <a:srgbClr val="FFFFFF"/>
                </a:solidFill>
                <a:prstDash val="solid"/>
                <a:headEnd type="none" w="med" len="med"/>
                <a:tailEnd type="none" w="med" len="med"/>
              </a:ln>
              <a:effectLst/>
            </p:spPr>
            <p:txBody>
              <a:bodyPr rtlCol="0" anchor="ctr"/>
              <a:lstStyle/>
              <a:p>
                <a:pPr marL="0" marR="0" lvl="0" indent="0" algn="ctr" defTabSz="89621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prstClr val="white"/>
                  </a:solidFill>
                  <a:effectLst/>
                  <a:uLnTx/>
                  <a:uFillTx/>
                  <a:latin typeface="Segoe UI"/>
                  <a:ea typeface="+mn-ea"/>
                  <a:cs typeface="+mn-cs"/>
                </a:endParaRPr>
              </a:p>
            </p:txBody>
          </p:sp>
        </p:grpSp>
      </p:grpSp>
    </p:spTree>
    <p:extLst>
      <p:ext uri="{BB962C8B-B14F-4D97-AF65-F5344CB8AC3E}">
        <p14:creationId xmlns:p14="http://schemas.microsoft.com/office/powerpoint/2010/main" val="3532870218"/>
      </p:ext>
    </p:extLst>
  </p:cSld>
  <p:clrMapOvr>
    <a:masterClrMapping/>
  </p:clrMapOvr>
  <p:transition>
    <p:fade/>
  </p:transition>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3_Title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2"/>
                    </a:gs>
                    <a:gs pos="39000">
                      <a:schemeClr val="tx2"/>
                    </a:gs>
                  </a:gsLst>
                  <a:lin ang="5400000" scaled="0"/>
                </a:gradFill>
              </a:defRPr>
            </a:lvl1pPr>
          </a:lstStyle>
          <a:p>
            <a:r>
              <a:rPr lang="en-US" dirty="0"/>
              <a:t>Presentation title</a:t>
            </a:r>
          </a:p>
        </p:txBody>
      </p:sp>
      <p:sp>
        <p:nvSpPr>
          <p:cNvPr id="7" name="TextBox 6"/>
          <p:cNvSpPr txBox="1"/>
          <p:nvPr/>
        </p:nvSpPr>
        <p:spPr>
          <a:xfrm>
            <a:off x="7116920" y="881753"/>
            <a:ext cx="5185559" cy="549685"/>
          </a:xfrm>
          <a:prstGeom prst="rect">
            <a:avLst/>
          </a:prstGeom>
          <a:noFill/>
        </p:spPr>
        <p:txBody>
          <a:bodyPr wrap="none" lIns="182854" tIns="146283" rIns="182854" bIns="146283" rtlCol="0">
            <a:spAutoFit/>
          </a:bodyPr>
          <a:lstStyle/>
          <a:p>
            <a:pPr algn="r">
              <a:lnSpc>
                <a:spcPct val="90000"/>
              </a:lnSpc>
              <a:spcAft>
                <a:spcPts val="600"/>
              </a:spcAft>
            </a:pPr>
            <a:r>
              <a:rPr lang="en-US" sz="1800" kern="1200" dirty="0">
                <a:gradFill>
                  <a:gsLst>
                    <a:gs pos="16000">
                      <a:schemeClr val="tx1">
                        <a:alpha val="90000"/>
                      </a:schemeClr>
                    </a:gs>
                    <a:gs pos="90000">
                      <a:schemeClr val="tx1">
                        <a:alpha val="90000"/>
                      </a:schemeClr>
                    </a:gs>
                  </a:gsLst>
                  <a:lin ang="16200000" scaled="0"/>
                </a:gradFill>
                <a:effectLst/>
                <a:latin typeface="+mn-lt"/>
                <a:ea typeface="+mn-ea"/>
                <a:cs typeface="+mn-cs"/>
              </a:rPr>
              <a:t>Analytics &amp; Business Intelligence Partner Airlift</a:t>
            </a:r>
            <a:endParaRPr lang="en-US" sz="2400" dirty="0">
              <a:gradFill>
                <a:gsLst>
                  <a:gs pos="16000">
                    <a:schemeClr val="tx1">
                      <a:alpha val="90000"/>
                    </a:schemeClr>
                  </a:gs>
                  <a:gs pos="90000">
                    <a:schemeClr val="tx1">
                      <a:alpha val="90000"/>
                    </a:schemeClr>
                  </a:gs>
                </a:gsLst>
                <a:lin ang="16200000" scaled="0"/>
              </a:gradFill>
              <a:latin typeface="+mj-lt"/>
            </a:endParaRPr>
          </a:p>
        </p:txBody>
      </p:sp>
      <p:grpSp>
        <p:nvGrpSpPr>
          <p:cNvPr id="10" name="Group 9"/>
          <p:cNvGrpSpPr>
            <a:grpSpLocks noChangeAspect="1"/>
          </p:cNvGrpSpPr>
          <p:nvPr/>
        </p:nvGrpSpPr>
        <p:grpSpPr bwMode="black">
          <a:xfrm>
            <a:off x="350838" y="324295"/>
            <a:ext cx="1566574" cy="336325"/>
            <a:chOff x="457200" y="1643393"/>
            <a:chExt cx="4492753" cy="964540"/>
          </a:xfrm>
        </p:grpSpPr>
        <p:pic>
          <p:nvPicPr>
            <p:cNvPr id="11" name="Picture 10"/>
            <p:cNvPicPr>
              <a:picLocks noChangeAspect="1"/>
            </p:cNvPicPr>
            <p:nvPr/>
          </p:nvPicPr>
          <p:blipFill>
            <a:blip r:embed="rId3"/>
            <a:stretch>
              <a:fillRect/>
            </a:stretch>
          </p:blipFill>
          <p:spPr bwMode="black">
            <a:xfrm>
              <a:off x="457200" y="1643393"/>
              <a:ext cx="964540" cy="964540"/>
            </a:xfrm>
            <a:prstGeom prst="rect">
              <a:avLst/>
            </a:prstGeom>
          </p:spPr>
        </p:pic>
        <p:sp>
          <p:nvSpPr>
            <p:cNvPr id="12"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3052176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8839" y="480502"/>
            <a:ext cx="2177001" cy="466345"/>
          </a:xfrm>
          <a:prstGeom prst="rect">
            <a:avLst/>
          </a:prstGeom>
        </p:spPr>
      </p:pic>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8839" y="480502"/>
            <a:ext cx="2177001" cy="466345"/>
          </a:xfrm>
          <a:prstGeom prst="rect">
            <a:avLst/>
          </a:prstGeom>
        </p:spPr>
      </p:pic>
    </p:spTree>
    <p:extLst>
      <p:ext uri="{BB962C8B-B14F-4D97-AF65-F5344CB8AC3E}">
        <p14:creationId xmlns:p14="http://schemas.microsoft.com/office/powerpoint/2010/main" val="28523770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1714567"/>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10085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5943599" cy="1714567"/>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5493791"/>
      </p:ext>
    </p:extLst>
  </p:cSld>
  <p:clrMapOvr>
    <a:masterClrMapping/>
  </p:clrMapOvr>
  <p:transition>
    <p:fade/>
  </p:transition>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1714567"/>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2745199"/>
      </p:ext>
    </p:extLst>
  </p:cSld>
  <p:clrMapOvr>
    <a:masterClrMapping/>
  </p:clrMapOvr>
  <p:transition>
    <p:fade/>
  </p:transition>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680758"/>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7932627"/>
      </p:ext>
    </p:extLst>
  </p:cSld>
  <p:clrMapOvr>
    <a:masterClrMapping/>
  </p:clrMapOvr>
  <p:transition>
    <p:fade/>
  </p:transition>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680758"/>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283129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837710"/>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837710"/>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302067"/>
      </p:ext>
    </p:extLst>
  </p:cSld>
  <p:clrMapOvr>
    <a:masterClrMapping/>
  </p:clrMapOvr>
  <p:transition>
    <p:fade/>
  </p:transition>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837710"/>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837710"/>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9623468"/>
      </p:ext>
    </p:extLst>
  </p:cSld>
  <p:clrMapOvr>
    <a:masterClrMapping/>
  </p:clrMapOvr>
  <p:transition>
    <p:fade/>
  </p:transition>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05395"/>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05395"/>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2316194"/>
      </p:ext>
    </p:extLst>
  </p:cSld>
  <p:clrMapOvr>
    <a:masterClrMapping/>
  </p:clrMapOvr>
  <p:transition>
    <p:fade/>
  </p:transition>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05395"/>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05395"/>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5011057"/>
      </p:ext>
    </p:extLst>
  </p:cSld>
  <p:clrMapOvr>
    <a:masterClrMapping/>
  </p:clrMapOvr>
  <p:transition>
    <p:fade/>
  </p:transition>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5717701"/>
      </p:ext>
    </p:extLst>
  </p:cSld>
  <p:clrMapOvr>
    <a:masterClrMapping/>
  </p:clrMapOvr>
  <p:transition>
    <p:fade/>
  </p:transition>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1769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917575"/>
          </a:xfrm>
        </p:spPr>
        <p:txBody>
          <a:bodyPr/>
          <a:lstStyle/>
          <a:p>
            <a:r>
              <a:rPr lang="en-US"/>
              <a:t>Click to edit Master title style</a:t>
            </a:r>
          </a:p>
        </p:txBody>
      </p:sp>
      <p:sp>
        <p:nvSpPr>
          <p:cNvPr id="6" name="Text Placeholder 5"/>
          <p:cNvSpPr>
            <a:spLocks noGrp="1"/>
          </p:cNvSpPr>
          <p:nvPr>
            <p:ph type="body" sz="quarter" idx="11"/>
          </p:nvPr>
        </p:nvSpPr>
        <p:spPr>
          <a:xfrm>
            <a:off x="273051" y="982662"/>
            <a:ext cx="11888787" cy="572464"/>
          </a:xfrm>
        </p:spPr>
        <p:txBody>
          <a:bodyPr/>
          <a:lstStyle>
            <a:lvl1pPr marL="0" indent="0">
              <a:buFont typeface="Arial" panose="020B0604020202020204" pitchFamily="34" charset="0"/>
              <a:buNone/>
              <a:defRPr sz="2800">
                <a:solidFill>
                  <a:schemeClr val="tx2"/>
                </a:solidFill>
              </a:defRPr>
            </a:lvl1pPr>
            <a:lvl2pPr marL="342834" indent="0">
              <a:buNone/>
              <a:defRPr/>
            </a:lvl2pPr>
            <a:lvl3pPr marL="571390" indent="0">
              <a:buNone/>
              <a:defRPr/>
            </a:lvl3pPr>
            <a:lvl4pPr marL="799946" indent="0">
              <a:buNone/>
              <a:defRPr/>
            </a:lvl4pPr>
            <a:lvl5pPr marL="1028503" indent="0">
              <a:buNone/>
              <a:defRPr/>
            </a:lvl5pPr>
          </a:lstStyle>
          <a:p>
            <a:pPr lvl="0"/>
            <a:r>
              <a:rPr lang="en-US"/>
              <a:t>Edit Master text styles</a:t>
            </a:r>
          </a:p>
        </p:txBody>
      </p:sp>
    </p:spTree>
    <p:extLst>
      <p:ext uri="{BB962C8B-B14F-4D97-AF65-F5344CB8AC3E}">
        <p14:creationId xmlns:p14="http://schemas.microsoft.com/office/powerpoint/2010/main" val="2924900367"/>
      </p:ext>
    </p:extLst>
  </p:cSld>
  <p:clrMapOvr>
    <a:masterClrMapping/>
  </p:clrMapOvr>
  <p:transition>
    <p:fade/>
  </p:transition>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_Title | Sub  - picture right">
    <p:spTree>
      <p:nvGrpSpPr>
        <p:cNvPr id="1" name=""/>
        <p:cNvGrpSpPr/>
        <p:nvPr/>
      </p:nvGrpSpPr>
      <p:grpSpPr>
        <a:xfrm>
          <a:off x="0" y="0"/>
          <a:ext cx="0" cy="0"/>
          <a:chOff x="0" y="0"/>
          <a:chExt cx="0" cy="0"/>
        </a:xfrm>
      </p:grpSpPr>
      <p:sp>
        <p:nvSpPr>
          <p:cNvPr id="2" name="Title 1"/>
          <p:cNvSpPr>
            <a:spLocks noGrp="1"/>
          </p:cNvSpPr>
          <p:nvPr>
            <p:ph type="title"/>
          </p:nvPr>
        </p:nvSpPr>
        <p:spPr>
          <a:xfrm>
            <a:off x="274640" y="295275"/>
            <a:ext cx="6248806" cy="917575"/>
          </a:xfrm>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274640" y="1839431"/>
            <a:ext cx="6248398" cy="572464"/>
          </a:xfrm>
        </p:spPr>
        <p:txBody>
          <a:bodyPr/>
          <a:lstStyle>
            <a:lvl1pPr marL="0" indent="0">
              <a:buFont typeface="Arial" panose="020B0604020202020204" pitchFamily="34" charset="0"/>
              <a:buNone/>
              <a:defRPr sz="2800">
                <a:solidFill>
                  <a:schemeClr val="tx2"/>
                </a:solidFill>
              </a:defRPr>
            </a:lvl1pPr>
            <a:lvl2pPr marL="342834" indent="0">
              <a:buNone/>
              <a:defRPr/>
            </a:lvl2pPr>
            <a:lvl3pPr marL="571390" indent="0">
              <a:buNone/>
              <a:defRPr/>
            </a:lvl3pPr>
            <a:lvl4pPr marL="799946" indent="0">
              <a:buNone/>
              <a:defRPr/>
            </a:lvl4pPr>
            <a:lvl5pPr marL="1028503" indent="0">
              <a:buNone/>
              <a:defRPr/>
            </a:lvl5pPr>
          </a:lstStyle>
          <a:p>
            <a:pPr lvl="0"/>
            <a:r>
              <a:rPr lang="en-US"/>
              <a:t>Edit Master text styles</a:t>
            </a:r>
          </a:p>
        </p:txBody>
      </p:sp>
      <p:sp>
        <p:nvSpPr>
          <p:cNvPr id="3" name="Rectangle 2"/>
          <p:cNvSpPr/>
          <p:nvPr/>
        </p:nvSpPr>
        <p:spPr bwMode="auto">
          <a:xfrm>
            <a:off x="6677026" y="0"/>
            <a:ext cx="5759449"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6677026" y="0"/>
            <a:ext cx="5759449"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02187306"/>
      </p:ext>
    </p:extLst>
  </p:cSld>
  <p:clrMapOvr>
    <a:masterClrMapping/>
  </p:clrMapOvr>
  <p:transition>
    <p:fade/>
  </p:transition>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 Sub | Content">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917575"/>
          </a:xfrm>
        </p:spPr>
        <p:txBody>
          <a:bodyPr/>
          <a:lstStyle/>
          <a:p>
            <a:r>
              <a:rPr lang="en-US"/>
              <a:t>Click to edit Master title style</a:t>
            </a:r>
          </a:p>
        </p:txBody>
      </p:sp>
      <p:sp>
        <p:nvSpPr>
          <p:cNvPr id="4" name="Text Placeholder 3"/>
          <p:cNvSpPr>
            <a:spLocks noGrp="1"/>
          </p:cNvSpPr>
          <p:nvPr>
            <p:ph type="body" sz="quarter" idx="10"/>
          </p:nvPr>
        </p:nvSpPr>
        <p:spPr>
          <a:xfrm>
            <a:off x="273051" y="1744662"/>
            <a:ext cx="12115800" cy="1677382"/>
          </a:xfrm>
        </p:spPr>
        <p:txBody>
          <a:bodyPr/>
          <a:lstStyle>
            <a:lvl1pPr marL="0" indent="0">
              <a:buNone/>
              <a:defRPr/>
            </a:lvl1pPr>
            <a:lvl2pPr marL="342834" indent="0">
              <a:buNone/>
              <a:defRPr/>
            </a:lvl2pPr>
            <a:lvl3pPr marL="571390" indent="0">
              <a:buNone/>
              <a:defRPr/>
            </a:lvl3pPr>
            <a:lvl4pPr marL="799946" indent="0">
              <a:buNone/>
              <a:defRPr/>
            </a:lvl4pPr>
            <a:lvl5pPr marL="10285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p:nvPr>
        </p:nvSpPr>
        <p:spPr>
          <a:xfrm>
            <a:off x="273051" y="982662"/>
            <a:ext cx="11888787" cy="572464"/>
          </a:xfrm>
        </p:spPr>
        <p:txBody>
          <a:bodyPr/>
          <a:lstStyle>
            <a:lvl1pPr marL="0" indent="0">
              <a:buFont typeface="Arial" panose="020B0604020202020204" pitchFamily="34" charset="0"/>
              <a:buNone/>
              <a:defRPr sz="2800">
                <a:solidFill>
                  <a:schemeClr val="tx2"/>
                </a:solidFill>
              </a:defRPr>
            </a:lvl1pPr>
            <a:lvl2pPr marL="342834" indent="0">
              <a:buNone/>
              <a:defRPr/>
            </a:lvl2pPr>
            <a:lvl3pPr marL="571390" indent="0">
              <a:buNone/>
              <a:defRPr/>
            </a:lvl3pPr>
            <a:lvl4pPr marL="799946" indent="0">
              <a:buNone/>
              <a:defRPr/>
            </a:lvl4pPr>
            <a:lvl5pPr marL="1028503" indent="0">
              <a:buNone/>
              <a:defRPr/>
            </a:lvl5pPr>
          </a:lstStyle>
          <a:p>
            <a:pPr lvl="0"/>
            <a:r>
              <a:rPr lang="en-US"/>
              <a:t>Edit Master text styles</a:t>
            </a:r>
          </a:p>
        </p:txBody>
      </p:sp>
    </p:spTree>
    <p:extLst>
      <p:ext uri="{BB962C8B-B14F-4D97-AF65-F5344CB8AC3E}">
        <p14:creationId xmlns:p14="http://schemas.microsoft.com/office/powerpoint/2010/main" val="2056412904"/>
      </p:ext>
    </p:extLst>
  </p:cSld>
  <p:clrMapOvr>
    <a:masterClrMapping/>
  </p:clrMapOvr>
  <p:transition>
    <p:fade/>
  </p:transition>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4766802"/>
      </p:ext>
    </p:extLst>
  </p:cSld>
  <p:clrMapOvr>
    <a:masterClrMapping/>
  </p:clrMapOvr>
  <p:transition>
    <p:fade/>
  </p:transition>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Section Title Accent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34963"/>
            <a:ext cx="11887200" cy="1831975"/>
          </a:xfrm>
          <a:noFill/>
        </p:spPr>
        <p:txBody>
          <a:bodyPr tIns="91440" bIns="91440" anchor="ctr" anchorCtr="0"/>
          <a:lstStyle>
            <a:lvl1pPr>
              <a:defRPr sz="5999" spc="-100" baseline="0">
                <a:gradFill>
                  <a:gsLst>
                    <a:gs pos="100000">
                      <a:schemeClr val="tx1"/>
                    </a:gs>
                    <a:gs pos="0">
                      <a:schemeClr val="tx1"/>
                    </a:gs>
                  </a:gsLst>
                  <a:lin ang="5400000" scaled="0"/>
                </a:gradFill>
              </a:defRPr>
            </a:lvl1pPr>
          </a:lstStyle>
          <a:p>
            <a:r>
              <a:rPr lang="en-US" dirty="0"/>
              <a:t>Key takeaways</a:t>
            </a:r>
          </a:p>
        </p:txBody>
      </p:sp>
      <p:sp>
        <p:nvSpPr>
          <p:cNvPr id="4" name="TextBox 3"/>
          <p:cNvSpPr txBox="1"/>
          <p:nvPr/>
        </p:nvSpPr>
        <p:spPr>
          <a:xfrm>
            <a:off x="7663014" y="16447"/>
            <a:ext cx="4643998" cy="521303"/>
          </a:xfrm>
          <a:prstGeom prst="rect">
            <a:avLst/>
          </a:prstGeom>
          <a:noFill/>
        </p:spPr>
        <p:txBody>
          <a:bodyPr wrap="none" lIns="182854" tIns="146283" rIns="182854" bIns="146283" rtlCol="0">
            <a:spAutoFit/>
          </a:bodyPr>
          <a:lstStyle/>
          <a:p>
            <a:pPr algn="r">
              <a:lnSpc>
                <a:spcPct val="90000"/>
              </a:lnSpc>
              <a:spcAft>
                <a:spcPts val="600"/>
              </a:spcAft>
            </a:pPr>
            <a:r>
              <a:rPr lang="en-US" sz="1599" kern="1200" dirty="0">
                <a:solidFill>
                  <a:schemeClr val="tx2"/>
                </a:solidFill>
                <a:effectLst/>
                <a:latin typeface="+mn-lt"/>
                <a:ea typeface="+mn-ea"/>
                <a:cs typeface="+mn-cs"/>
              </a:rPr>
              <a:t>Analytics &amp; Business Intelligence Partner Airlift</a:t>
            </a:r>
            <a:endParaRPr lang="en-US" sz="2000" dirty="0">
              <a:solidFill>
                <a:schemeClr val="tx2"/>
              </a:solidFill>
              <a:latin typeface="+mj-lt"/>
            </a:endParaRPr>
          </a:p>
        </p:txBody>
      </p:sp>
      <p:sp>
        <p:nvSpPr>
          <p:cNvPr id="5" name="Text Placeholder 4"/>
          <p:cNvSpPr>
            <a:spLocks noGrp="1"/>
          </p:cNvSpPr>
          <p:nvPr>
            <p:ph type="body" sz="quarter" idx="10"/>
          </p:nvPr>
        </p:nvSpPr>
        <p:spPr>
          <a:xfrm>
            <a:off x="274638" y="2506663"/>
            <a:ext cx="5486400" cy="1677382"/>
          </a:xfrm>
        </p:spPr>
        <p:txBody>
          <a:bodyPr lIns="603504"/>
          <a:lstStyle>
            <a:lvl1pPr marL="0" indent="0">
              <a:buNone/>
              <a:defRPr/>
            </a:lvl1pPr>
            <a:lvl2pPr marL="342834" indent="0">
              <a:buNone/>
              <a:defRPr/>
            </a:lvl2pPr>
            <a:lvl3pPr marL="571390" indent="0">
              <a:buNone/>
              <a:defRPr/>
            </a:lvl3pPr>
            <a:lvl4pPr marL="799946" indent="0">
              <a:buNone/>
              <a:defRPr/>
            </a:lvl4pPr>
            <a:lvl5pPr marL="10285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065837" y="2506663"/>
            <a:ext cx="6096001" cy="1677382"/>
          </a:xfrm>
        </p:spPr>
        <p:txBody>
          <a:bodyPr lIns="603504"/>
          <a:lstStyle>
            <a:lvl1pPr marL="0" indent="0">
              <a:buNone/>
              <a:defRPr/>
            </a:lvl1pPr>
            <a:lvl2pPr marL="342834" indent="0">
              <a:buNone/>
              <a:defRPr/>
            </a:lvl2pPr>
            <a:lvl3pPr marL="571390" indent="0">
              <a:buNone/>
              <a:defRPr/>
            </a:lvl3pPr>
            <a:lvl4pPr marL="799946" indent="0">
              <a:buNone/>
              <a:defRPr/>
            </a:lvl4pPr>
            <a:lvl5pPr marL="10285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p:nvSpPr>
        <p:spPr>
          <a:xfrm>
            <a:off x="198435" y="1744663"/>
            <a:ext cx="1143002" cy="973324"/>
          </a:xfrm>
          <a:prstGeom prst="rect">
            <a:avLst/>
          </a:prstGeom>
          <a:noFill/>
        </p:spPr>
        <p:txBody>
          <a:bodyPr wrap="square" lIns="182854" tIns="146283" rIns="182854" bIns="146283" rtlCol="0">
            <a:spAutoFit/>
          </a:bodyPr>
          <a:lstStyle/>
          <a:p>
            <a:pPr algn="ctr">
              <a:lnSpc>
                <a:spcPct val="90000"/>
              </a:lnSpc>
              <a:spcAft>
                <a:spcPts val="600"/>
              </a:spcAft>
            </a:pPr>
            <a:r>
              <a:rPr lang="en-US" sz="4799" dirty="0">
                <a:solidFill>
                  <a:srgbClr val="3C6F82"/>
                </a:solidFill>
                <a:cs typeface="Segoe UI Semilight" panose="020B0402040204020203" pitchFamily="34" charset="0"/>
              </a:rPr>
              <a:t>01</a:t>
            </a:r>
          </a:p>
        </p:txBody>
      </p:sp>
      <p:sp>
        <p:nvSpPr>
          <p:cNvPr id="9" name="TextBox 8"/>
          <p:cNvSpPr txBox="1"/>
          <p:nvPr/>
        </p:nvSpPr>
        <p:spPr>
          <a:xfrm>
            <a:off x="5911849" y="1744663"/>
            <a:ext cx="1447800" cy="973324"/>
          </a:xfrm>
          <a:prstGeom prst="rect">
            <a:avLst/>
          </a:prstGeom>
          <a:noFill/>
        </p:spPr>
        <p:txBody>
          <a:bodyPr wrap="square" lIns="182854" tIns="146283" rIns="182854" bIns="146283" rtlCol="0">
            <a:spAutoFit/>
          </a:bodyPr>
          <a:lstStyle/>
          <a:p>
            <a:pPr algn="ctr">
              <a:lnSpc>
                <a:spcPct val="90000"/>
              </a:lnSpc>
              <a:spcAft>
                <a:spcPts val="600"/>
              </a:spcAft>
            </a:pPr>
            <a:r>
              <a:rPr lang="en-US" sz="4799" dirty="0">
                <a:solidFill>
                  <a:srgbClr val="3C6F82"/>
                </a:solidFill>
                <a:cs typeface="Segoe UI Semilight" panose="020B0402040204020203" pitchFamily="34" charset="0"/>
              </a:rPr>
              <a:t>02</a:t>
            </a:r>
          </a:p>
        </p:txBody>
      </p:sp>
      <p:cxnSp>
        <p:nvCxnSpPr>
          <p:cNvPr id="10" name="Straight Connector 9"/>
          <p:cNvCxnSpPr/>
          <p:nvPr/>
        </p:nvCxnSpPr>
        <p:spPr>
          <a:xfrm>
            <a:off x="6216649" y="2506663"/>
            <a:ext cx="838200" cy="0"/>
          </a:xfrm>
          <a:prstGeom prst="line">
            <a:avLst/>
          </a:prstGeom>
          <a:ln w="38100">
            <a:solidFill>
              <a:srgbClr val="36678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50836" y="2506663"/>
            <a:ext cx="838200" cy="0"/>
          </a:xfrm>
          <a:prstGeom prst="line">
            <a:avLst/>
          </a:prstGeom>
          <a:ln w="38100">
            <a:solidFill>
              <a:srgbClr val="36678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5379614"/>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049463"/>
            <a:ext cx="10056812" cy="1912208"/>
          </a:xfrm>
          <a:noFill/>
        </p:spPr>
        <p:txBody>
          <a:bodyPr tIns="91440" bIns="91440" anchor="t" anchorCtr="0"/>
          <a:lstStyle>
            <a:lvl1pPr>
              <a:defRPr sz="7198" spc="-100" baseline="0">
                <a:solidFill>
                  <a:schemeClr val="bg2"/>
                </a:soli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solidFill>
                  <a:schemeClr val="bg1"/>
                </a:solidFill>
                <a:latin typeface="+mj-lt"/>
              </a:defRPr>
            </a:lvl1pPr>
          </a:lstStyle>
          <a:p>
            <a:pPr lvl="0"/>
            <a:r>
              <a:rPr lang="en-US" dirty="0"/>
              <a:t>Speaker Name</a:t>
            </a:r>
          </a:p>
        </p:txBody>
      </p:sp>
      <p:sp>
        <p:nvSpPr>
          <p:cNvPr id="3" name="Rectangle 2"/>
          <p:cNvSpPr/>
          <p:nvPr/>
        </p:nvSpPr>
        <p:spPr>
          <a:xfrm>
            <a:off x="457201" y="296863"/>
            <a:ext cx="1594594" cy="721848"/>
          </a:xfrm>
          <a:prstGeom prst="rect">
            <a:avLst/>
          </a:prstGeom>
        </p:spPr>
        <p:txBody>
          <a:bodyPr wrap="none">
            <a:spAutoFit/>
          </a:bodyPr>
          <a:lstStyle/>
          <a:p>
            <a:r>
              <a:rPr lang="en-US" sz="3999" b="1" dirty="0">
                <a:solidFill>
                  <a:schemeClr val="bg1"/>
                </a:solidFill>
              </a:rPr>
              <a:t>demo</a:t>
            </a:r>
          </a:p>
        </p:txBody>
      </p:sp>
      <p:sp>
        <p:nvSpPr>
          <p:cNvPr id="9" name="TextBox 8"/>
          <p:cNvSpPr txBox="1"/>
          <p:nvPr/>
        </p:nvSpPr>
        <p:spPr>
          <a:xfrm>
            <a:off x="6446837" y="1363662"/>
            <a:ext cx="369398" cy="634440"/>
          </a:xfrm>
          <a:prstGeom prst="rect">
            <a:avLst/>
          </a:prstGeom>
          <a:noFill/>
        </p:spPr>
        <p:txBody>
          <a:bodyPr wrap="non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dirty="0">
              <a:ln>
                <a:noFill/>
              </a:ln>
              <a:gradFill>
                <a:gsLst>
                  <a:gs pos="16000">
                    <a:srgbClr val="FFFFFF">
                      <a:alpha val="90000"/>
                    </a:srgbClr>
                  </a:gs>
                  <a:gs pos="90000">
                    <a:srgbClr val="FFFFFF">
                      <a:alpha val="90000"/>
                    </a:srgbClr>
                  </a:gs>
                </a:gsLst>
                <a:lin ang="16200000" scaled="0"/>
              </a:gradFill>
              <a:effectLst/>
              <a:uLnTx/>
              <a:uFillTx/>
              <a:latin typeface="Segoe UI Light"/>
            </a:endParaRPr>
          </a:p>
        </p:txBody>
      </p:sp>
      <p:sp>
        <p:nvSpPr>
          <p:cNvPr id="7" name="TextBox 6"/>
          <p:cNvSpPr txBox="1"/>
          <p:nvPr/>
        </p:nvSpPr>
        <p:spPr>
          <a:xfrm>
            <a:off x="7116920" y="881753"/>
            <a:ext cx="5185559" cy="549685"/>
          </a:xfrm>
          <a:prstGeom prst="rect">
            <a:avLst/>
          </a:prstGeom>
          <a:noFill/>
        </p:spPr>
        <p:txBody>
          <a:bodyPr wrap="none" lIns="182854" tIns="146283" rIns="182854" bIns="146283" rtlCol="0">
            <a:spAutoFit/>
          </a:bodyPr>
          <a:lstStyle/>
          <a:p>
            <a:pPr algn="r">
              <a:lnSpc>
                <a:spcPct val="90000"/>
              </a:lnSpc>
              <a:spcAft>
                <a:spcPts val="600"/>
              </a:spcAft>
            </a:pPr>
            <a:r>
              <a:rPr lang="en-US" sz="1800" kern="1200" dirty="0">
                <a:solidFill>
                  <a:schemeClr val="bg2"/>
                </a:solidFill>
                <a:effectLst/>
                <a:latin typeface="+mn-lt"/>
                <a:ea typeface="+mn-ea"/>
                <a:cs typeface="+mn-cs"/>
              </a:rPr>
              <a:t>Analytics &amp; Business Intelligence Partner Airlift</a:t>
            </a:r>
            <a:endParaRPr lang="en-US" sz="2400" dirty="0">
              <a:solidFill>
                <a:schemeClr val="bg2"/>
              </a:solidFill>
              <a:latin typeface="+mj-lt"/>
            </a:endParaRPr>
          </a:p>
        </p:txBody>
      </p:sp>
      <p:sp>
        <p:nvSpPr>
          <p:cNvPr id="8" name="Rectangle 7"/>
          <p:cNvSpPr/>
          <p:nvPr/>
        </p:nvSpPr>
        <p:spPr>
          <a:xfrm>
            <a:off x="457201" y="296863"/>
            <a:ext cx="1594594" cy="721848"/>
          </a:xfrm>
          <a:prstGeom prst="rect">
            <a:avLst/>
          </a:prstGeom>
        </p:spPr>
        <p:txBody>
          <a:bodyPr wrap="none">
            <a:spAutoFit/>
          </a:bodyPr>
          <a:lstStyle/>
          <a:p>
            <a:r>
              <a:rPr lang="en-US" sz="3999" b="1" dirty="0">
                <a:solidFill>
                  <a:schemeClr val="bg1"/>
                </a:solidFill>
              </a:rPr>
              <a:t>demo</a:t>
            </a:r>
          </a:p>
        </p:txBody>
      </p:sp>
    </p:spTree>
    <p:extLst>
      <p:ext uri="{BB962C8B-B14F-4D97-AF65-F5344CB8AC3E}">
        <p14:creationId xmlns:p14="http://schemas.microsoft.com/office/powerpoint/2010/main" val="11281893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049463"/>
            <a:ext cx="4669184" cy="1912208"/>
          </a:xfrm>
          <a:noFill/>
        </p:spPr>
        <p:txBody>
          <a:bodyPr tIns="91440" bIns="91440" anchor="t" anchorCtr="0"/>
          <a:lstStyle>
            <a:lvl1pPr>
              <a:defRPr sz="7196" spc="-100" baseline="0">
                <a:solidFill>
                  <a:schemeClr val="bg2"/>
                </a:solidFill>
              </a:defRPr>
            </a:lvl1pPr>
          </a:lstStyle>
          <a:p>
            <a:r>
              <a:rPr lang="en-US" dirty="0"/>
              <a:t>Video title</a:t>
            </a:r>
          </a:p>
        </p:txBody>
      </p:sp>
      <p:sp>
        <p:nvSpPr>
          <p:cNvPr id="5" name="Text Placeholder 4"/>
          <p:cNvSpPr>
            <a:spLocks noGrp="1"/>
          </p:cNvSpPr>
          <p:nvPr>
            <p:ph type="body" sz="quarter" idx="12" hasCustomPrompt="1"/>
          </p:nvPr>
        </p:nvSpPr>
        <p:spPr>
          <a:xfrm>
            <a:off x="274639" y="3954465"/>
            <a:ext cx="4669922" cy="1829593"/>
          </a:xfrm>
          <a:noFill/>
        </p:spPr>
        <p:txBody>
          <a:bodyPr lIns="182880" tIns="146304" rIns="182880" bIns="146304">
            <a:noAutofit/>
          </a:bodyPr>
          <a:lstStyle>
            <a:lvl1pPr marL="0" indent="0">
              <a:spcBef>
                <a:spcPts val="0"/>
              </a:spcBef>
              <a:buNone/>
              <a:defRPr sz="3598" spc="0" baseline="0">
                <a:solidFill>
                  <a:schemeClr val="bg1"/>
                </a:solidFill>
                <a:latin typeface="+mj-lt"/>
              </a:defRPr>
            </a:lvl1pPr>
          </a:lstStyle>
          <a:p>
            <a:pPr lvl="0"/>
            <a:r>
              <a:rPr lang="en-US" dirty="0"/>
              <a:t>Speaker Name</a:t>
            </a:r>
          </a:p>
        </p:txBody>
      </p:sp>
      <p:sp>
        <p:nvSpPr>
          <p:cNvPr id="3" name="Rectangle 2"/>
          <p:cNvSpPr/>
          <p:nvPr/>
        </p:nvSpPr>
        <p:spPr>
          <a:xfrm>
            <a:off x="457200" y="296863"/>
            <a:ext cx="1547176" cy="721848"/>
          </a:xfrm>
          <a:prstGeom prst="rect">
            <a:avLst/>
          </a:prstGeom>
        </p:spPr>
        <p:txBody>
          <a:bodyPr wrap="none">
            <a:spAutoFit/>
          </a:bodyPr>
          <a:lstStyle/>
          <a:p>
            <a:r>
              <a:rPr lang="en-US" sz="3998" b="1" dirty="0">
                <a:solidFill>
                  <a:schemeClr val="bg1"/>
                </a:solidFill>
              </a:rPr>
              <a:t>video</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76559" y="1739635"/>
            <a:ext cx="6342926" cy="3680091"/>
          </a:xfrm>
          <a:prstGeom prst="rect">
            <a:avLst/>
          </a:prstGeom>
        </p:spPr>
      </p:pic>
      <p:sp>
        <p:nvSpPr>
          <p:cNvPr id="7" name="TextBox 6"/>
          <p:cNvSpPr txBox="1"/>
          <p:nvPr/>
        </p:nvSpPr>
        <p:spPr>
          <a:xfrm>
            <a:off x="7116920" y="881753"/>
            <a:ext cx="5185559" cy="549685"/>
          </a:xfrm>
          <a:prstGeom prst="rect">
            <a:avLst/>
          </a:prstGeom>
          <a:noFill/>
        </p:spPr>
        <p:txBody>
          <a:bodyPr wrap="none" lIns="182854" tIns="146283" rIns="182854" bIns="146283" rtlCol="0">
            <a:spAutoFit/>
          </a:bodyPr>
          <a:lstStyle/>
          <a:p>
            <a:pPr algn="r">
              <a:lnSpc>
                <a:spcPct val="90000"/>
              </a:lnSpc>
              <a:spcAft>
                <a:spcPts val="600"/>
              </a:spcAft>
            </a:pPr>
            <a:r>
              <a:rPr lang="en-US" sz="1800" kern="1200" dirty="0">
                <a:solidFill>
                  <a:schemeClr val="bg2"/>
                </a:solidFill>
                <a:effectLst/>
                <a:latin typeface="+mn-lt"/>
                <a:ea typeface="+mn-ea"/>
                <a:cs typeface="+mn-cs"/>
              </a:rPr>
              <a:t>Analytics &amp; Business Intelligence Partner Airlift</a:t>
            </a:r>
            <a:endParaRPr lang="en-US" sz="2400" dirty="0">
              <a:solidFill>
                <a:schemeClr val="bg2"/>
              </a:solidFill>
              <a:latin typeface="+mj-lt"/>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76559" y="1739635"/>
            <a:ext cx="6342926" cy="3680091"/>
          </a:xfrm>
          <a:prstGeom prst="rect">
            <a:avLst/>
          </a:prstGeom>
        </p:spPr>
      </p:pic>
    </p:spTree>
    <p:extLst>
      <p:ext uri="{BB962C8B-B14F-4D97-AF65-F5344CB8AC3E}">
        <p14:creationId xmlns:p14="http://schemas.microsoft.com/office/powerpoint/2010/main" val="3191747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049463"/>
            <a:ext cx="10056812" cy="1912208"/>
          </a:xfrm>
          <a:noFill/>
        </p:spPr>
        <p:txBody>
          <a:bodyPr tIns="91440" bIns="91440" anchor="t" anchorCtr="0"/>
          <a:lstStyle>
            <a:lvl1pPr>
              <a:defRPr sz="7198" spc="-100" baseline="0">
                <a:solidFill>
                  <a:schemeClr val="bg2"/>
                </a:solidFill>
              </a:defRPr>
            </a:lvl1pPr>
          </a:lstStyle>
          <a:p>
            <a:r>
              <a:rPr lang="en-US" dirty="0"/>
              <a:t>Vide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solidFill>
                  <a:schemeClr val="bg1"/>
                </a:solidFill>
                <a:latin typeface="+mj-lt"/>
              </a:defRPr>
            </a:lvl1pPr>
          </a:lstStyle>
          <a:p>
            <a:pPr lvl="0"/>
            <a:r>
              <a:rPr lang="en-US" dirty="0"/>
              <a:t>Speaker Name</a:t>
            </a:r>
          </a:p>
        </p:txBody>
      </p:sp>
      <p:sp>
        <p:nvSpPr>
          <p:cNvPr id="3" name="Rectangle 2"/>
          <p:cNvSpPr/>
          <p:nvPr/>
        </p:nvSpPr>
        <p:spPr>
          <a:xfrm>
            <a:off x="457200" y="296863"/>
            <a:ext cx="1547176" cy="721848"/>
          </a:xfrm>
          <a:prstGeom prst="rect">
            <a:avLst/>
          </a:prstGeom>
        </p:spPr>
        <p:txBody>
          <a:bodyPr wrap="none">
            <a:spAutoFit/>
          </a:bodyPr>
          <a:lstStyle/>
          <a:p>
            <a:r>
              <a:rPr lang="en-US" sz="3999" b="1" dirty="0">
                <a:solidFill>
                  <a:schemeClr val="bg1"/>
                </a:solidFill>
              </a:rPr>
              <a:t>video</a:t>
            </a:r>
          </a:p>
        </p:txBody>
      </p:sp>
      <p:sp>
        <p:nvSpPr>
          <p:cNvPr id="6" name="TextBox 5"/>
          <p:cNvSpPr txBox="1"/>
          <p:nvPr/>
        </p:nvSpPr>
        <p:spPr>
          <a:xfrm>
            <a:off x="7116920" y="881753"/>
            <a:ext cx="5185559" cy="549685"/>
          </a:xfrm>
          <a:prstGeom prst="rect">
            <a:avLst/>
          </a:prstGeom>
          <a:noFill/>
        </p:spPr>
        <p:txBody>
          <a:bodyPr wrap="none" lIns="182854" tIns="146283" rIns="182854" bIns="146283" rtlCol="0">
            <a:spAutoFit/>
          </a:bodyPr>
          <a:lstStyle/>
          <a:p>
            <a:pPr algn="r">
              <a:lnSpc>
                <a:spcPct val="90000"/>
              </a:lnSpc>
              <a:spcAft>
                <a:spcPts val="600"/>
              </a:spcAft>
            </a:pPr>
            <a:r>
              <a:rPr lang="en-US" sz="1800" kern="1200" dirty="0">
                <a:solidFill>
                  <a:schemeClr val="bg2"/>
                </a:solidFill>
                <a:effectLst/>
                <a:latin typeface="+mn-lt"/>
                <a:ea typeface="+mn-ea"/>
                <a:cs typeface="+mn-cs"/>
              </a:rPr>
              <a:t>Analytics &amp; Business Intelligence Partner Airlift</a:t>
            </a:r>
            <a:endParaRPr lang="en-US" sz="2400" dirty="0">
              <a:solidFill>
                <a:schemeClr val="bg2"/>
              </a:solidFill>
              <a:latin typeface="+mj-lt"/>
            </a:endParaRPr>
          </a:p>
        </p:txBody>
      </p:sp>
      <p:sp>
        <p:nvSpPr>
          <p:cNvPr id="7" name="Rectangle 6"/>
          <p:cNvSpPr/>
          <p:nvPr/>
        </p:nvSpPr>
        <p:spPr>
          <a:xfrm>
            <a:off x="457200" y="296863"/>
            <a:ext cx="1547176" cy="721848"/>
          </a:xfrm>
          <a:prstGeom prst="rect">
            <a:avLst/>
          </a:prstGeom>
        </p:spPr>
        <p:txBody>
          <a:bodyPr wrap="none">
            <a:spAutoFit/>
          </a:bodyPr>
          <a:lstStyle/>
          <a:p>
            <a:r>
              <a:rPr lang="en-US" sz="3999" b="1" dirty="0">
                <a:solidFill>
                  <a:schemeClr val="bg1"/>
                </a:solidFill>
              </a:rPr>
              <a:t>video</a:t>
            </a:r>
          </a:p>
        </p:txBody>
      </p:sp>
    </p:spTree>
    <p:extLst>
      <p:ext uri="{BB962C8B-B14F-4D97-AF65-F5344CB8AC3E}">
        <p14:creationId xmlns:p14="http://schemas.microsoft.com/office/powerpoint/2010/main" val="9738379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Accent Colo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506663"/>
            <a:ext cx="11887200" cy="1831975"/>
          </a:xfrm>
          <a:noFill/>
        </p:spPr>
        <p:txBody>
          <a:bodyPr tIns="91440" bIns="91440" anchor="ctr" anchorCtr="0"/>
          <a:lstStyle>
            <a:lvl1pPr>
              <a:defRPr sz="5999" spc="-100" baseline="0">
                <a:gradFill>
                  <a:gsLst>
                    <a:gs pos="100000">
                      <a:schemeClr val="tx1"/>
                    </a:gs>
                    <a:gs pos="0">
                      <a:schemeClr val="tx1"/>
                    </a:gs>
                  </a:gsLst>
                  <a:lin ang="5400000" scaled="0"/>
                </a:gradFill>
              </a:defRPr>
            </a:lvl1pPr>
          </a:lstStyle>
          <a:p>
            <a:r>
              <a:rPr lang="en-US" dirty="0"/>
              <a:t>Section title</a:t>
            </a:r>
          </a:p>
        </p:txBody>
      </p:sp>
      <p:sp>
        <p:nvSpPr>
          <p:cNvPr id="4" name="TextBox 3"/>
          <p:cNvSpPr txBox="1"/>
          <p:nvPr/>
        </p:nvSpPr>
        <p:spPr>
          <a:xfrm>
            <a:off x="7116920" y="881753"/>
            <a:ext cx="5185559" cy="549685"/>
          </a:xfrm>
          <a:prstGeom prst="rect">
            <a:avLst/>
          </a:prstGeom>
          <a:noFill/>
        </p:spPr>
        <p:txBody>
          <a:bodyPr wrap="none" lIns="182854" tIns="146283" rIns="182854" bIns="146283" rtlCol="0">
            <a:spAutoFit/>
          </a:bodyPr>
          <a:lstStyle/>
          <a:p>
            <a:pPr algn="r">
              <a:lnSpc>
                <a:spcPct val="90000"/>
              </a:lnSpc>
              <a:spcAft>
                <a:spcPts val="600"/>
              </a:spcAft>
            </a:pPr>
            <a:r>
              <a:rPr lang="en-US" sz="1800" kern="1200" dirty="0">
                <a:solidFill>
                  <a:schemeClr val="tx2"/>
                </a:solidFill>
                <a:effectLst/>
                <a:latin typeface="+mn-lt"/>
                <a:ea typeface="+mn-ea"/>
                <a:cs typeface="+mn-cs"/>
              </a:rPr>
              <a:t>Analytics &amp; Business Intelligence Partner Airlift</a:t>
            </a:r>
            <a:endParaRPr lang="en-US" sz="2400" dirty="0">
              <a:solidFill>
                <a:schemeClr val="tx2"/>
              </a:solidFill>
              <a:latin typeface="+mj-lt"/>
            </a:endParaRPr>
          </a:p>
        </p:txBody>
      </p:sp>
    </p:spTree>
    <p:extLst>
      <p:ext uri="{BB962C8B-B14F-4D97-AF65-F5344CB8AC3E}">
        <p14:creationId xmlns:p14="http://schemas.microsoft.com/office/powerpoint/2010/main" val="1126326674"/>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ctr" anchorCtr="0"/>
          <a:lstStyle>
            <a:lvl1pPr>
              <a:defRPr sz="65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83962785"/>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181854"/>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694622"/>
          </a:xfrm>
        </p:spPr>
        <p:txBody>
          <a:bodyPr/>
          <a:lstStyle>
            <a:lvl1pPr marL="0" indent="0">
              <a:buNone/>
              <a:defRPr sz="3299">
                <a:gradFill>
                  <a:gsLst>
                    <a:gs pos="1250">
                      <a:srgbClr val="000000"/>
                    </a:gs>
                    <a:gs pos="100000">
                      <a:srgbClr val="000000"/>
                    </a:gs>
                  </a:gsLst>
                  <a:lin ang="5400000" scaled="0"/>
                </a:gradFill>
                <a:latin typeface="Segoe UI" pitchFamily="34" charset="0"/>
                <a:cs typeface="Segoe UI" pitchFamily="34" charset="0"/>
              </a:defRPr>
            </a:lvl1pPr>
            <a:lvl2pPr marL="346487" indent="0">
              <a:buNone/>
              <a:defRPr>
                <a:gradFill>
                  <a:gsLst>
                    <a:gs pos="1250">
                      <a:srgbClr val="000000"/>
                    </a:gs>
                    <a:gs pos="100000">
                      <a:srgbClr val="000000"/>
                    </a:gs>
                  </a:gsLst>
                  <a:lin ang="5400000" scaled="0"/>
                </a:gradFill>
                <a:latin typeface="Segoe UI" pitchFamily="34" charset="0"/>
                <a:cs typeface="Segoe UI" pitchFamily="34" charset="0"/>
              </a:defRPr>
            </a:lvl2pPr>
            <a:lvl3pPr marL="584494" indent="0">
              <a:buNone/>
              <a:defRPr>
                <a:gradFill>
                  <a:gsLst>
                    <a:gs pos="1250">
                      <a:srgbClr val="000000"/>
                    </a:gs>
                    <a:gs pos="100000">
                      <a:srgbClr val="000000"/>
                    </a:gs>
                  </a:gsLst>
                  <a:lin ang="5400000" scaled="0"/>
                </a:gradFill>
                <a:latin typeface="Segoe UI" pitchFamily="34" charset="0"/>
                <a:cs typeface="Segoe UI" pitchFamily="34" charset="0"/>
              </a:defRPr>
            </a:lvl3pPr>
            <a:lvl4pPr marL="814406"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795"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29676223"/>
      </p:ext>
    </p:extLst>
  </p:cSld>
  <p:clrMapOvr>
    <a:masterClrMapping/>
  </p:clrMapOvr>
  <p:transition>
    <p:fade/>
  </p:transition>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26237882"/>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los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bwMode="invGray">
          <a:xfrm>
            <a:off x="360806" y="3197253"/>
            <a:ext cx="3386931" cy="723872"/>
          </a:xfrm>
          <a:prstGeom prst="rect">
            <a:avLst/>
          </a:prstGeom>
        </p:spPr>
      </p:pic>
      <p:sp>
        <p:nvSpPr>
          <p:cNvPr id="4" name="Text Box 3"/>
          <p:cNvSpPr txBox="1">
            <a:spLocks noChangeArrowheads="1"/>
          </p:cNvSpPr>
          <p:nvPr/>
        </p:nvSpPr>
        <p:spPr bwMode="blackWhite">
          <a:xfrm>
            <a:off x="198438" y="5402262"/>
            <a:ext cx="10974388" cy="457048"/>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1049" dirty="0">
                <a:gradFill>
                  <a:gsLst>
                    <a:gs pos="7500">
                      <a:schemeClr val="tx1"/>
                    </a:gs>
                    <a:gs pos="19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3"/>
          <a:stretch>
            <a:fillRect/>
          </a:stretch>
        </p:blipFill>
        <p:spPr bwMode="invGray">
          <a:xfrm>
            <a:off x="360806" y="3197253"/>
            <a:ext cx="3386931" cy="723872"/>
          </a:xfrm>
          <a:prstGeom prst="rect">
            <a:avLst/>
          </a:prstGeom>
        </p:spPr>
      </p:pic>
      <p:sp>
        <p:nvSpPr>
          <p:cNvPr id="6" name="Text Box 3"/>
          <p:cNvSpPr txBox="1">
            <a:spLocks noChangeArrowheads="1"/>
          </p:cNvSpPr>
          <p:nvPr/>
        </p:nvSpPr>
        <p:spPr bwMode="blackWhite">
          <a:xfrm>
            <a:off x="198438" y="5402262"/>
            <a:ext cx="10974388" cy="457048"/>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1049" dirty="0">
                <a:gradFill>
                  <a:gsLst>
                    <a:gs pos="7500">
                      <a:schemeClr val="tx1"/>
                    </a:gs>
                    <a:gs pos="19000">
                      <a:schemeClr val="tx1"/>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4132388948"/>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1" hasCustomPrompt="1"/>
          </p:nvPr>
        </p:nvSpPr>
        <p:spPr>
          <a:xfrm>
            <a:off x="275286" y="1035687"/>
            <a:ext cx="11944198" cy="527358"/>
          </a:xfrm>
        </p:spPr>
        <p:txBody>
          <a:bodyPr/>
          <a:lstStyle>
            <a:lvl1pPr marL="0" indent="0">
              <a:buFontTx/>
              <a:buNone/>
              <a:defRPr sz="2448">
                <a:solidFill>
                  <a:schemeClr val="tx2"/>
                </a:solidFill>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en-US" dirty="0"/>
              <a:t>Master text styles</a:t>
            </a:r>
          </a:p>
        </p:txBody>
      </p:sp>
    </p:spTree>
    <p:extLst>
      <p:ext uri="{BB962C8B-B14F-4D97-AF65-F5344CB8AC3E}">
        <p14:creationId xmlns:p14="http://schemas.microsoft.com/office/powerpoint/2010/main" val="8480248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6316266" y="0"/>
            <a:ext cx="6120209" cy="6994524"/>
          </a:xfrm>
          <a:prstGeom prst="rect">
            <a:avLst/>
          </a:prstGeom>
        </p:spPr>
      </p:pic>
      <p:sp>
        <p:nvSpPr>
          <p:cNvPr id="2" name="Title 1"/>
          <p:cNvSpPr>
            <a:spLocks noGrp="1"/>
          </p:cNvSpPr>
          <p:nvPr>
            <p:ph type="title" hasCustomPrompt="1"/>
          </p:nvPr>
        </p:nvSpPr>
        <p:spPr>
          <a:xfrm>
            <a:off x="274637" y="2125677"/>
            <a:ext cx="7315199" cy="1828786"/>
          </a:xfrm>
          <a:noFill/>
        </p:spPr>
        <p:txBody>
          <a:bodyPr wrap="square" tIns="91440" bIns="91440" anchor="t" anchorCtr="0">
            <a:noAutofit/>
          </a:bodyPr>
          <a:lstStyle>
            <a:lvl1pPr>
              <a:defRPr sz="60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4872215"/>
            <a:ext cx="7315199"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96942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6316266" y="0"/>
            <a:ext cx="6120209" cy="6994524"/>
          </a:xfrm>
          <a:prstGeom prst="rect">
            <a:avLst/>
          </a:prstGeom>
        </p:spPr>
      </p:pic>
      <p:sp>
        <p:nvSpPr>
          <p:cNvPr id="2" name="Title 1"/>
          <p:cNvSpPr>
            <a:spLocks noGrp="1"/>
          </p:cNvSpPr>
          <p:nvPr>
            <p:ph type="title" hasCustomPrompt="1"/>
          </p:nvPr>
        </p:nvSpPr>
        <p:spPr>
          <a:xfrm>
            <a:off x="274639" y="2125677"/>
            <a:ext cx="7315199" cy="1181862"/>
          </a:xfrm>
          <a:noFill/>
        </p:spPr>
        <p:txBody>
          <a:bodyPr wrap="square"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10" Type="http://schemas.openxmlformats.org/officeDocument/2006/relationships/image" Target="../media/image7.png"/><Relationship Id="rId4" Type="http://schemas.openxmlformats.org/officeDocument/2006/relationships/slideLayout" Target="../slideLayouts/slideLayout22.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theme" Target="../theme/theme3.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34" Type="http://schemas.openxmlformats.org/officeDocument/2006/relationships/tags" Target="../tags/tag1.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vmlDrawing" Target="../drawings/vmlDrawing1.v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slideLayout" Target="../slideLayouts/slideLayout78.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theme" Target="../theme/theme4.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image" Target="../media/image13.emf"/><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240" r:id="rId3"/>
    <p:sldLayoutId id="2147484241" r:id="rId4"/>
    <p:sldLayoutId id="2147484474" r:id="rId5"/>
    <p:sldLayoutId id="2147484245" r:id="rId6"/>
    <p:sldLayoutId id="2147484247" r:id="rId7"/>
    <p:sldLayoutId id="2147484249" r:id="rId8"/>
    <p:sldLayoutId id="2147484250" r:id="rId9"/>
    <p:sldLayoutId id="2147484264" r:id="rId10"/>
    <p:sldLayoutId id="2147484251" r:id="rId11"/>
    <p:sldLayoutId id="2147484475" r:id="rId12"/>
    <p:sldLayoutId id="2147484463" r:id="rId13"/>
    <p:sldLayoutId id="2147484256" r:id="rId14"/>
    <p:sldLayoutId id="2147484257" r:id="rId15"/>
    <p:sldLayoutId id="2147484260" r:id="rId16"/>
    <p:sldLayoutId id="2147484299" r:id="rId17"/>
    <p:sldLayoutId id="2147484263"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663" y="373063"/>
            <a:ext cx="10725150" cy="135096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663" y="1862138"/>
            <a:ext cx="10725150" cy="443706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663" y="6483350"/>
            <a:ext cx="2797175" cy="371475"/>
          </a:xfrm>
          <a:prstGeom prst="rect">
            <a:avLst/>
          </a:prstGeom>
        </p:spPr>
        <p:txBody>
          <a:bodyPr vert="horz" lIns="91440" tIns="45720" rIns="91440" bIns="45720" rtlCol="0" anchor="ctr"/>
          <a:lstStyle>
            <a:lvl1pPr algn="l">
              <a:defRPr sz="1200">
                <a:solidFill>
                  <a:schemeClr val="tx1">
                    <a:tint val="75000"/>
                  </a:schemeClr>
                </a:solidFill>
              </a:defRPr>
            </a:lvl1pPr>
          </a:lstStyle>
          <a:p>
            <a:fld id="{21294558-F853-46DA-845C-C38CC3592FCC}" type="datetimeFigureOut">
              <a:rPr lang="en-US" smtClean="0">
                <a:solidFill>
                  <a:prstClr val="black">
                    <a:tint val="75000"/>
                  </a:prstClr>
                </a:solidFill>
              </a:rPr>
              <a:pPr/>
              <a:t>5/6/2017</a:t>
            </a:fld>
            <a:endParaRPr lang="en-US">
              <a:solidFill>
                <a:prstClr val="black">
                  <a:tint val="75000"/>
                </a:prstClr>
              </a:solidFill>
            </a:endParaRPr>
          </a:p>
        </p:txBody>
      </p:sp>
      <p:sp>
        <p:nvSpPr>
          <p:cNvPr id="5" name="Footer Placeholder 4"/>
          <p:cNvSpPr>
            <a:spLocks noGrp="1"/>
          </p:cNvSpPr>
          <p:nvPr>
            <p:ph type="ftr" sz="quarter" idx="3"/>
          </p:nvPr>
        </p:nvSpPr>
        <p:spPr>
          <a:xfrm>
            <a:off x="4119563" y="6483350"/>
            <a:ext cx="4197350" cy="37147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83638" y="6483350"/>
            <a:ext cx="2797175" cy="371475"/>
          </a:xfrm>
          <a:prstGeom prst="rect">
            <a:avLst/>
          </a:prstGeom>
        </p:spPr>
        <p:txBody>
          <a:bodyPr vert="horz" lIns="91440" tIns="45720" rIns="91440" bIns="45720" rtlCol="0" anchor="ctr"/>
          <a:lstStyle>
            <a:lvl1pPr algn="r">
              <a:defRPr sz="1200">
                <a:solidFill>
                  <a:schemeClr val="tx1">
                    <a:tint val="75000"/>
                  </a:schemeClr>
                </a:solidFill>
              </a:defRPr>
            </a:lvl1pPr>
          </a:lstStyle>
          <a:p>
            <a:fld id="{1072245C-EB54-4275-9208-0D699625D4EC}" type="slidenum">
              <a:rPr lang="en-US" smtClean="0">
                <a:solidFill>
                  <a:prstClr val="black">
                    <a:tint val="75000"/>
                  </a:prstClr>
                </a:solidFill>
              </a:rPr>
              <a:pPr/>
              <a:t>‹#›</a:t>
            </a:fld>
            <a:endParaRPr lang="en-US">
              <a:solidFill>
                <a:prstClr val="black">
                  <a:tint val="75000"/>
                </a:prstClr>
              </a:solidFill>
            </a:endParaRPr>
          </a:p>
        </p:txBody>
      </p:sp>
      <p:pic>
        <p:nvPicPr>
          <p:cNvPr id="7" name="Picture 6"/>
          <p:cNvPicPr>
            <a:picLocks noChangeAspect="1"/>
          </p:cNvPicPr>
          <p:nvPr userDrawn="1"/>
        </p:nvPicPr>
        <p:blipFill>
          <a:blip r:embed="rId10"/>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3649829171"/>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540"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269">
          <p15:clr>
            <a:srgbClr val="F26B43"/>
          </p15:clr>
        </p15:guide>
        <p15:guide id="3" pos="7661">
          <p15:clr>
            <a:srgbClr val="F26B43"/>
          </p15:clr>
        </p15:guide>
        <p15:guide id="4" pos="7565">
          <p15:clr>
            <a:srgbClr val="F26B43"/>
          </p15:clr>
        </p15:guide>
        <p15:guide id="5" orient="horz" pos="187">
          <p15:clr>
            <a:srgbClr val="F26B43"/>
          </p15:clr>
        </p15:guide>
        <p15:guide id="6" orient="horz" pos="283">
          <p15:clr>
            <a:srgbClr val="F26B43"/>
          </p15:clr>
        </p15:guide>
        <p15:guide id="7" orient="horz" pos="4219">
          <p15:clr>
            <a:srgbClr val="F26B43"/>
          </p15:clr>
        </p15:guide>
        <p15:guide id="8" orient="horz" pos="412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966445"/>
      </p:ext>
    </p:extLst>
  </p:cSld>
  <p:clrMap bg1="dk1" tx1="lt1" bg2="dk2" tx2="lt2" accent1="accent1" accent2="accent2" accent3="accent3" accent4="accent4" accent5="accent5" accent6="accent6" hlink="hlink" folHlink="folHlink"/>
  <p:sldLayoutIdLst>
    <p:sldLayoutId id="2147484485" r:id="rId1"/>
    <p:sldLayoutId id="2147484486" r:id="rId2"/>
    <p:sldLayoutId id="2147484487" r:id="rId3"/>
    <p:sldLayoutId id="2147484488" r:id="rId4"/>
    <p:sldLayoutId id="2147484489" r:id="rId5"/>
    <p:sldLayoutId id="2147484490" r:id="rId6"/>
    <p:sldLayoutId id="2147484491" r:id="rId7"/>
    <p:sldLayoutId id="2147484492" r:id="rId8"/>
    <p:sldLayoutId id="2147484493" r:id="rId9"/>
    <p:sldLayoutId id="2147484494" r:id="rId10"/>
    <p:sldLayoutId id="2147484495" r:id="rId11"/>
    <p:sldLayoutId id="2147484496" r:id="rId12"/>
    <p:sldLayoutId id="2147484497" r:id="rId13"/>
    <p:sldLayoutId id="2147484498" r:id="rId14"/>
    <p:sldLayoutId id="2147484499" r:id="rId15"/>
    <p:sldLayoutId id="2147484500" r:id="rId16"/>
    <p:sldLayoutId id="2147484501" r:id="rId17"/>
    <p:sldLayoutId id="2147484502" r:id="rId18"/>
    <p:sldLayoutId id="2147484503" r:id="rId19"/>
    <p:sldLayoutId id="2147484504" r:id="rId20"/>
    <p:sldLayoutId id="2147484505" r:id="rId21"/>
    <p:sldLayoutId id="2147484506" r:id="rId22"/>
    <p:sldLayoutId id="2147484507"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bg1"/>
              </a:gs>
              <a:gs pos="100000">
                <a:schemeClr val="bg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bg1"/>
              </a:gs>
              <a:gs pos="100000">
                <a:schemeClr val="bg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bg1"/>
              </a:gs>
              <a:gs pos="100000">
                <a:schemeClr val="bg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bg1"/>
              </a:gs>
              <a:gs pos="100000">
                <a:schemeClr val="bg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bg1"/>
              </a:gs>
              <a:gs pos="100000">
                <a:schemeClr val="bg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2"/>
            <a:ext cx="11887198" cy="167738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5"/>
          <p:cNvGrpSpPr/>
          <p:nvPr/>
        </p:nvGrpSpPr>
        <p:grpSpPr>
          <a:xfrm>
            <a:off x="12618964" y="-8395"/>
            <a:ext cx="955641" cy="5775363"/>
            <a:chOff x="12618967" y="-8396"/>
            <a:chExt cx="955641" cy="5775363"/>
          </a:xfrm>
        </p:grpSpPr>
        <p:grpSp>
          <p:nvGrpSpPr>
            <p:cNvPr id="7" name="Group 6"/>
            <p:cNvGrpSpPr/>
            <p:nvPr/>
          </p:nvGrpSpPr>
          <p:grpSpPr>
            <a:xfrm rot="5400000">
              <a:off x="11584220" y="1040742"/>
              <a:ext cx="2698730" cy="629236"/>
              <a:chOff x="1584344" y="4543426"/>
              <a:chExt cx="2698730" cy="629236"/>
            </a:xfrm>
          </p:grpSpPr>
          <p:sp>
            <p:nvSpPr>
              <p:cNvPr id="13" name="Rectangle 1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29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15" name="Rectangle 14"/>
              <p:cNvSpPr/>
              <p:nvPr/>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29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293"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293"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18" name="Rectangle 17"/>
              <p:cNvSpPr/>
              <p:nvPr/>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8" name="TextBox 7"/>
            <p:cNvSpPr txBox="1"/>
            <p:nvPr/>
          </p:nvSpPr>
          <p:spPr>
            <a:xfrm rot="5400000">
              <a:off x="12979639" y="256928"/>
              <a:ext cx="860293"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9" name="TextBox 8"/>
            <p:cNvSpPr txBox="1"/>
            <p:nvPr/>
          </p:nvSpPr>
          <p:spPr>
            <a:xfrm rot="5400000">
              <a:off x="11715628" y="4227340"/>
              <a:ext cx="2709380"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10" name="Rectangle 9"/>
            <p:cNvSpPr/>
            <p:nvPr/>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11" name="Rectangle 10"/>
            <p:cNvSpPr/>
            <p:nvPr/>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12" name="Rectangle 11"/>
            <p:cNvSpPr/>
            <p:nvPr/>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graphicFrame>
        <p:nvGraphicFramePr>
          <p:cNvPr id="19" name="Object 18" hidden="1"/>
          <p:cNvGraphicFramePr>
            <a:graphicFrameLocks noChangeAspect="1"/>
          </p:cNvGraphicFramePr>
          <p:nvPr userDrawn="1">
            <p:custDataLst>
              <p:tags r:id="rId34"/>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71" name="think-cell Slide" r:id="rId35" imgW="377" imgH="377" progId="TCLayout.ActiveDocument.1">
                  <p:embed/>
                </p:oleObj>
              </mc:Choice>
              <mc:Fallback>
                <p:oleObj name="think-cell Slide" r:id="rId35" imgW="377" imgH="377" progId="TCLayout.ActiveDocument.1">
                  <p:embed/>
                  <p:pic>
                    <p:nvPicPr>
                      <p:cNvPr id="19" name="Object 18" hidden="1"/>
                      <p:cNvPicPr/>
                      <p:nvPr/>
                    </p:nvPicPr>
                    <p:blipFill>
                      <a:blip r:embed="rId36"/>
                      <a:stretch>
                        <a:fillRect/>
                      </a:stretch>
                    </p:blipFill>
                    <p:spPr>
                      <a:xfrm>
                        <a:off x="1620" y="1620"/>
                        <a:ext cx="1619" cy="1619"/>
                      </a:xfrm>
                      <a:prstGeom prst="rect">
                        <a:avLst/>
                      </a:prstGeom>
                    </p:spPr>
                  </p:pic>
                </p:oleObj>
              </mc:Fallback>
            </mc:AlternateContent>
          </a:graphicData>
        </a:graphic>
      </p:graphicFrame>
    </p:spTree>
    <p:extLst>
      <p:ext uri="{BB962C8B-B14F-4D97-AF65-F5344CB8AC3E}">
        <p14:creationId xmlns:p14="http://schemas.microsoft.com/office/powerpoint/2010/main" val="2146458062"/>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26" r:id="rId18"/>
    <p:sldLayoutId id="2147484527" r:id="rId19"/>
    <p:sldLayoutId id="2147484528" r:id="rId20"/>
    <p:sldLayoutId id="2147484529" r:id="rId21"/>
    <p:sldLayoutId id="2147484530" r:id="rId22"/>
    <p:sldLayoutId id="2147484531" r:id="rId23"/>
    <p:sldLayoutId id="2147484532" r:id="rId24"/>
    <p:sldLayoutId id="2147484533" r:id="rId25"/>
    <p:sldLayoutId id="2147484534" r:id="rId26"/>
    <p:sldLayoutId id="2147484535" r:id="rId27"/>
    <p:sldLayoutId id="2147484536" r:id="rId28"/>
    <p:sldLayoutId id="2147484537" r:id="rId29"/>
    <p:sldLayoutId id="2147484538" r:id="rId30"/>
    <p:sldLayoutId id="2147484539" r:id="rId31"/>
  </p:sldLayoutIdLst>
  <p:transition>
    <p:fade/>
  </p:transition>
  <p:txStyles>
    <p:titleStyle>
      <a:lvl1pPr algn="l" defTabSz="932563" rtl="0" eaLnBrk="1" latinLnBrk="0" hangingPunct="1">
        <a:lnSpc>
          <a:spcPct val="90000"/>
        </a:lnSpc>
        <a:spcBef>
          <a:spcPct val="0"/>
        </a:spcBef>
        <a:buNone/>
        <a:defRPr lang="en-US" sz="4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1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3" orient="horz" pos="187">
          <p15:clr>
            <a:srgbClr val="5ACBF0"/>
          </p15:clr>
        </p15:guide>
        <p15:guide id="34" pos="173">
          <p15:clr>
            <a:srgbClr val="5ACBF0"/>
          </p15:clr>
        </p15:guide>
        <p15:guide id="35" pos="749">
          <p15:clr>
            <a:srgbClr val="5ACBF0"/>
          </p15:clr>
        </p15:guide>
        <p15:guide id="36" pos="1325">
          <p15:clr>
            <a:srgbClr val="5ACBF0"/>
          </p15:clr>
        </p15:guide>
        <p15:guide id="37" pos="1901">
          <p15:clr>
            <a:srgbClr val="5ACBF0"/>
          </p15:clr>
        </p15:guide>
        <p15:guide id="38" pos="2477">
          <p15:clr>
            <a:srgbClr val="5ACBF0"/>
          </p15:clr>
        </p15:guide>
        <p15:guide id="39" pos="3053">
          <p15:clr>
            <a:srgbClr val="5ACBF0"/>
          </p15:clr>
        </p15:guide>
        <p15:guide id="40" pos="3629">
          <p15:clr>
            <a:srgbClr val="5ACBF0"/>
          </p15:clr>
        </p15:guide>
        <p15:guide id="41" pos="4205">
          <p15:clr>
            <a:srgbClr val="5ACBF0"/>
          </p15:clr>
        </p15:guide>
        <p15:guide id="42" pos="4781">
          <p15:clr>
            <a:srgbClr val="5ACBF0"/>
          </p15:clr>
        </p15:guide>
        <p15:guide id="43" pos="5357">
          <p15:clr>
            <a:srgbClr val="5ACBF0"/>
          </p15:clr>
        </p15:guide>
        <p15:guide id="44" pos="5933">
          <p15:clr>
            <a:srgbClr val="5ACBF0"/>
          </p15:clr>
        </p15:guide>
        <p15:guide id="45" pos="6509">
          <p15:clr>
            <a:srgbClr val="5ACBF0"/>
          </p15:clr>
        </p15:guide>
        <p15:guide id="46" pos="7085">
          <p15:clr>
            <a:srgbClr val="5ACBF0"/>
          </p15:clr>
        </p15:guide>
        <p15:guide id="47" pos="7661">
          <p15:clr>
            <a:srgbClr val="5ACBF0"/>
          </p15:clr>
        </p15:guide>
        <p15:guide id="48" pos="288">
          <p15:clr>
            <a:srgbClr val="C35EA4"/>
          </p15:clr>
        </p15:guide>
        <p15:guide id="49" pos="7546">
          <p15:clr>
            <a:srgbClr val="C35EA4"/>
          </p15:clr>
        </p15:guide>
        <p15:guide id="50" orient="horz" pos="763">
          <p15:clr>
            <a:srgbClr val="5ACBF0"/>
          </p15:clr>
        </p15:guide>
        <p15:guide id="51" orient="horz" pos="1339">
          <p15:clr>
            <a:srgbClr val="5ACBF0"/>
          </p15:clr>
        </p15:guide>
        <p15:guide id="52" orient="horz" pos="1915">
          <p15:clr>
            <a:srgbClr val="5ACBF0"/>
          </p15:clr>
        </p15:guide>
        <p15:guide id="53" orient="horz" pos="2491">
          <p15:clr>
            <a:srgbClr val="5ACBF0"/>
          </p15:clr>
        </p15:guide>
        <p15:guide id="54" orient="horz" pos="3067">
          <p15:clr>
            <a:srgbClr val="5ACBF0"/>
          </p15:clr>
        </p15:guide>
        <p15:guide id="55" orient="horz" pos="3643">
          <p15:clr>
            <a:srgbClr val="5ACBF0"/>
          </p15:clr>
        </p15:guide>
        <p15:guide id="56" orient="horz" pos="4219">
          <p15:clr>
            <a:srgbClr val="5ACBF0"/>
          </p15:clr>
        </p15:guide>
        <p15:guide id="57" orient="horz" pos="302">
          <p15:clr>
            <a:srgbClr val="C35EA4"/>
          </p15:clr>
        </p15:guide>
        <p15:guide id="58"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hyperlink" Target="https://www.microsoft.com/cognitive-services/en-us/computer-vision-api" TargetMode="External"/><Relationship Id="rId2" Type="http://schemas.openxmlformats.org/officeDocument/2006/relationships/notesSlide" Target="../notesSlides/notesSlide12.xml"/><Relationship Id="rId1" Type="http://schemas.openxmlformats.org/officeDocument/2006/relationships/slideLayout" Target="../slideLayouts/slideLayout30.xml"/><Relationship Id="rId5" Type="http://schemas.openxmlformats.org/officeDocument/2006/relationships/hyperlink" Target="https://www.microsoft.com/cognitive-services/en-us/face-api" TargetMode="External"/><Relationship Id="rId4" Type="http://schemas.openxmlformats.org/officeDocument/2006/relationships/hyperlink" Target="https://www.microsoft.com/cognitive-services/en-us/emotion-api"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www.microsoft.com/cognitive-services/en-us/SDK-Sample?api=computer%20vision" TargetMode="External"/><Relationship Id="rId2" Type="http://schemas.openxmlformats.org/officeDocument/2006/relationships/notesSlide" Target="../notesSlides/notesSlide13.xml"/><Relationship Id="rId1" Type="http://schemas.openxmlformats.org/officeDocument/2006/relationships/slideLayout" Target="../slideLayouts/slideLayout30.xml"/><Relationship Id="rId4" Type="http://schemas.openxmlformats.org/officeDocument/2006/relationships/hyperlink" Target="https://www.microsoft.com/cognitive-services/en-us/documentation"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microsoft.com/cognitive" TargetMode="External"/><Relationship Id="rId2" Type="http://schemas.openxmlformats.org/officeDocument/2006/relationships/notesSlide" Target="../notesSlides/notesSlide14.xml"/><Relationship Id="rId1" Type="http://schemas.openxmlformats.org/officeDocument/2006/relationships/slideLayout" Target="../slideLayouts/slideLayout8.xml"/><Relationship Id="rId5" Type="http://schemas.openxmlformats.org/officeDocument/2006/relationships/hyperlink" Target="https://github.com/Microsoft/Cognitive-Samples-IntelligentKiosk" TargetMode="External"/><Relationship Id="rId4" Type="http://schemas.openxmlformats.org/officeDocument/2006/relationships/hyperlink" Target="http://aifunclub.azurewebsites.net/"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hyperlink" Target="http://microsoft.com/cognitive" TargetMode="External"/><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25.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hyperlink" Target="http://blogs.msdn.microsoft.com/jennifer"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39.jpg"/></Relationships>
</file>

<file path=ppt/slides/_rels/slide23.xml.rels><?xml version="1.0" encoding="UTF-8" standalone="yes"?>
<Relationships xmlns="http://schemas.openxmlformats.org/package/2006/relationships"><Relationship Id="rId3" Type="http://schemas.openxmlformats.org/officeDocument/2006/relationships/hyperlink" Target="http://text-analytics-demo.azurewebsites.net/" TargetMode="External"/><Relationship Id="rId2" Type="http://schemas.openxmlformats.org/officeDocument/2006/relationships/notesSlide" Target="../notesSlides/notesSlide23.xml"/><Relationship Id="rId1" Type="http://schemas.openxmlformats.org/officeDocument/2006/relationships/slideLayout" Target="../slideLayouts/slideLayout8.xml"/><Relationship Id="rId4" Type="http://schemas.openxmlformats.org/officeDocument/2006/relationships/hyperlink" Target="http://aka.ms/bias"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3" Type="http://schemas.openxmlformats.org/officeDocument/2006/relationships/hyperlink" Target="http://microsoftcareerbot.azurewebsites.net/" TargetMode="External"/><Relationship Id="rId2" Type="http://schemas.openxmlformats.org/officeDocument/2006/relationships/notesSlide" Target="../notesSlides/notesSlide25.xml"/><Relationship Id="rId1" Type="http://schemas.openxmlformats.org/officeDocument/2006/relationships/slideLayout" Target="../slideLayouts/slideLayout8.xml"/><Relationship Id="rId4" Type="http://schemas.openxmlformats.org/officeDocument/2006/relationships/hyperlink" Target="http://luis.ai/" TargetMode="Externa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7.xml"/><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hyperlink" Target="http://projectmurphy.net/" TargetMode="External"/><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1.xml"/><Relationship Id="rId1" Type="http://schemas.openxmlformats.org/officeDocument/2006/relationships/slideLayout" Target="../slideLayouts/slideLayout25.xml"/><Relationship Id="rId5" Type="http://schemas.openxmlformats.org/officeDocument/2006/relationships/hyperlink" Target="http://blogs.microsoft.com/next/2016/03/30/decades-of-computer-vision-research-one-swiss-army-knife/#sm.0000czoqxnzr5e5cvyb28mj4d6jej" TargetMode="External"/><Relationship Id="rId4" Type="http://schemas.openxmlformats.org/officeDocument/2006/relationships/hyperlink" Target="https://www.youtube.com/watch?v=R2mC-NUAmMk"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slideLayout" Target="../slideLayouts/slideLayout9.xml"/><Relationship Id="rId1" Type="http://schemas.openxmlformats.org/officeDocument/2006/relationships/video" Target="https://www.youtube.com/embed/R2mC-NUAmMk"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32.xml"/><Relationship Id="rId1" Type="http://schemas.openxmlformats.org/officeDocument/2006/relationships/slideLayout" Target="../slideLayouts/slideLayout25.xml"/><Relationship Id="rId5" Type="http://schemas.openxmlformats.org/officeDocument/2006/relationships/hyperlink" Target="https://www.microsoft.com/cognitive-services/en-us/vigiglobe-wizr" TargetMode="External"/><Relationship Id="rId4" Type="http://schemas.openxmlformats.org/officeDocument/2006/relationships/image" Target="../media/image44.png"/></Relationships>
</file>

<file path=ppt/slides/_rels/slide34.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33.xml"/><Relationship Id="rId1" Type="http://schemas.openxmlformats.org/officeDocument/2006/relationships/slideLayout" Target="../slideLayouts/slideLayout25.xml"/><Relationship Id="rId6" Type="http://schemas.microsoft.com/office/2007/relationships/hdphoto" Target="../media/hdphoto2.wdp"/><Relationship Id="rId5" Type="http://schemas.openxmlformats.org/officeDocument/2006/relationships/image" Target="../media/image46.png"/><Relationship Id="rId4" Type="http://schemas.openxmlformats.org/officeDocument/2006/relationships/hyperlink" Target="https://www.microsoft.com/cognitive-services/en-us/blucup-zero-keyboard" TargetMode="External"/></Relationships>
</file>

<file path=ppt/slides/_rels/slide35.xml.rels><?xml version="1.0" encoding="UTF-8" standalone="yes"?>
<Relationships xmlns="http://schemas.openxmlformats.org/package/2006/relationships"><Relationship Id="rId8" Type="http://schemas.openxmlformats.org/officeDocument/2006/relationships/hyperlink" Target="https://cognitive.uservoice.com/" TargetMode="External"/><Relationship Id="rId3" Type="http://schemas.openxmlformats.org/officeDocument/2006/relationships/hyperlink" Target="https://www.microsoft.com/cognitive-services/en-us/pricing" TargetMode="External"/><Relationship Id="rId7" Type="http://schemas.openxmlformats.org/officeDocument/2006/relationships/hyperlink" Target="https://social.msdn.microsoft.com/forums/azure/en-US/home?forum=mlapi" TargetMode="External"/><Relationship Id="rId2" Type="http://schemas.openxmlformats.org/officeDocument/2006/relationships/notesSlide" Target="../notesSlides/notesSlide34.xml"/><Relationship Id="rId1" Type="http://schemas.openxmlformats.org/officeDocument/2006/relationships/slideLayout" Target="../slideLayouts/slideLayout20.xml"/><Relationship Id="rId6" Type="http://schemas.openxmlformats.org/officeDocument/2006/relationships/hyperlink" Target="https://stackoverflow.com/questions/tagged/microsoft-cognitive" TargetMode="External"/><Relationship Id="rId5" Type="http://schemas.openxmlformats.org/officeDocument/2006/relationships/hyperlink" Target="https://github.com/Microsoft/ProjectOxford-ClientSDK" TargetMode="External"/><Relationship Id="rId4" Type="http://schemas.openxmlformats.org/officeDocument/2006/relationships/hyperlink" Target="https://www.microsoft.com/cognitive-services/en-us/computer-vision-api/documentation"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3" Type="http://schemas.openxmlformats.org/officeDocument/2006/relationships/hyperlink" Target="http://blogs.msdn.microsoft.com/jennifer" TargetMode="External"/><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8.xml"/></Relationships>
</file>

<file path=ppt/slides/_rels/slide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jpg"/><Relationship Id="rId7" Type="http://schemas.openxmlformats.org/officeDocument/2006/relationships/image" Target="../media/image24.png"/><Relationship Id="rId12"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25.xml"/><Relationship Id="rId6" Type="http://schemas.openxmlformats.org/officeDocument/2006/relationships/image" Target="../media/image23.png"/><Relationship Id="rId11" Type="http://schemas.openxmlformats.org/officeDocument/2006/relationships/image" Target="../media/image27.png"/><Relationship Id="rId5" Type="http://schemas.openxmlformats.org/officeDocument/2006/relationships/image" Target="../media/image22.png"/><Relationship Id="rId10" Type="http://schemas.openxmlformats.org/officeDocument/2006/relationships/image" Target="../media/image26.png"/><Relationship Id="rId4" Type="http://schemas.openxmlformats.org/officeDocument/2006/relationships/image" Target="../media/image21.png"/><Relationship Id="rId9" Type="http://schemas.microsoft.com/office/2007/relationships/hdphoto" Target="../media/hdphoto1.wdp"/></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3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7.xml"/><Relationship Id="rId1" Type="http://schemas.openxmlformats.org/officeDocument/2006/relationships/slideLayout" Target="../slideLayouts/slideLayout80.xml"/><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8.xml"/><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8421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5" name="Group 174"/>
          <p:cNvGrpSpPr/>
          <p:nvPr/>
        </p:nvGrpSpPr>
        <p:grpSpPr>
          <a:xfrm>
            <a:off x="9603517" y="2704730"/>
            <a:ext cx="1600200" cy="1600200"/>
            <a:chOff x="9536611" y="2704730"/>
            <a:chExt cx="1600200" cy="1600200"/>
          </a:xfrm>
        </p:grpSpPr>
        <p:sp>
          <p:nvSpPr>
            <p:cNvPr id="122" name="Rectangle 121"/>
            <p:cNvSpPr/>
            <p:nvPr/>
          </p:nvSpPr>
          <p:spPr>
            <a:xfrm>
              <a:off x="9536611"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62" name="Group 161"/>
            <p:cNvGrpSpPr/>
            <p:nvPr/>
          </p:nvGrpSpPr>
          <p:grpSpPr>
            <a:xfrm>
              <a:off x="9689012" y="3097901"/>
              <a:ext cx="1295398" cy="813858"/>
              <a:chOff x="9689012" y="2290234"/>
              <a:chExt cx="1295398" cy="813858"/>
            </a:xfrm>
          </p:grpSpPr>
          <p:grpSp>
            <p:nvGrpSpPr>
              <p:cNvPr id="123" name="Group 122"/>
              <p:cNvGrpSpPr/>
              <p:nvPr/>
            </p:nvGrpSpPr>
            <p:grpSpPr>
              <a:xfrm>
                <a:off x="9689012" y="2290234"/>
                <a:ext cx="1295398" cy="813858"/>
                <a:chOff x="5531790" y="639909"/>
                <a:chExt cx="640080" cy="402143"/>
              </a:xfrm>
            </p:grpSpPr>
            <p:sp>
              <p:nvSpPr>
                <p:cNvPr id="124" name="Freeform 26"/>
                <p:cNvSpPr>
                  <a:spLocks noEditPoints="1"/>
                </p:cNvSpPr>
                <p:nvPr/>
              </p:nvSpPr>
              <p:spPr bwMode="auto">
                <a:xfrm>
                  <a:off x="5531790" y="639909"/>
                  <a:ext cx="640080" cy="402143"/>
                </a:xfrm>
                <a:custGeom>
                  <a:avLst/>
                  <a:gdLst>
                    <a:gd name="T0" fmla="*/ 348 w 354"/>
                    <a:gd name="T1" fmla="*/ 106 h 221"/>
                    <a:gd name="T2" fmla="*/ 268 w 354"/>
                    <a:gd name="T3" fmla="*/ 35 h 221"/>
                    <a:gd name="T4" fmla="*/ 134 w 354"/>
                    <a:gd name="T5" fmla="*/ 14 h 221"/>
                    <a:gd name="T6" fmla="*/ 4 w 354"/>
                    <a:gd name="T7" fmla="*/ 109 h 221"/>
                    <a:gd name="T8" fmla="*/ 5 w 354"/>
                    <a:gd name="T9" fmla="*/ 119 h 221"/>
                    <a:gd name="T10" fmla="*/ 13 w 354"/>
                    <a:gd name="T11" fmla="*/ 129 h 221"/>
                    <a:gd name="T12" fmla="*/ 170 w 354"/>
                    <a:gd name="T13" fmla="*/ 221 h 221"/>
                    <a:gd name="T14" fmla="*/ 178 w 354"/>
                    <a:gd name="T15" fmla="*/ 220 h 221"/>
                    <a:gd name="T16" fmla="*/ 350 w 354"/>
                    <a:gd name="T17" fmla="*/ 119 h 221"/>
                    <a:gd name="T18" fmla="*/ 348 w 354"/>
                    <a:gd name="T19" fmla="*/ 106 h 221"/>
                    <a:gd name="T20" fmla="*/ 177 w 354"/>
                    <a:gd name="T21" fmla="*/ 193 h 221"/>
                    <a:gd name="T22" fmla="*/ 98 w 354"/>
                    <a:gd name="T23" fmla="*/ 114 h 221"/>
                    <a:gd name="T24" fmla="*/ 177 w 354"/>
                    <a:gd name="T25" fmla="*/ 35 h 221"/>
                    <a:gd name="T26" fmla="*/ 256 w 354"/>
                    <a:gd name="T27" fmla="*/ 114 h 221"/>
                    <a:gd name="T28" fmla="*/ 177 w 354"/>
                    <a:gd name="T29"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4" h="221">
                      <a:moveTo>
                        <a:pt x="348" y="106"/>
                      </a:moveTo>
                      <a:cubicBezTo>
                        <a:pt x="325" y="78"/>
                        <a:pt x="299" y="54"/>
                        <a:pt x="268" y="35"/>
                      </a:cubicBezTo>
                      <a:cubicBezTo>
                        <a:pt x="226" y="10"/>
                        <a:pt x="181" y="0"/>
                        <a:pt x="134" y="14"/>
                      </a:cubicBezTo>
                      <a:cubicBezTo>
                        <a:pt x="81" y="30"/>
                        <a:pt x="41" y="66"/>
                        <a:pt x="4" y="109"/>
                      </a:cubicBezTo>
                      <a:cubicBezTo>
                        <a:pt x="0" y="113"/>
                        <a:pt x="2" y="116"/>
                        <a:pt x="5" y="119"/>
                      </a:cubicBezTo>
                      <a:cubicBezTo>
                        <a:pt x="7" y="122"/>
                        <a:pt x="10" y="126"/>
                        <a:pt x="13" y="129"/>
                      </a:cubicBezTo>
                      <a:cubicBezTo>
                        <a:pt x="57" y="179"/>
                        <a:pt x="107" y="215"/>
                        <a:pt x="170" y="221"/>
                      </a:cubicBezTo>
                      <a:cubicBezTo>
                        <a:pt x="174" y="221"/>
                        <a:pt x="176" y="221"/>
                        <a:pt x="178" y="220"/>
                      </a:cubicBezTo>
                      <a:cubicBezTo>
                        <a:pt x="250" y="217"/>
                        <a:pt x="303" y="176"/>
                        <a:pt x="350" y="119"/>
                      </a:cubicBezTo>
                      <a:cubicBezTo>
                        <a:pt x="354" y="114"/>
                        <a:pt x="351" y="110"/>
                        <a:pt x="348" y="106"/>
                      </a:cubicBezTo>
                      <a:close/>
                      <a:moveTo>
                        <a:pt x="177" y="193"/>
                      </a:moveTo>
                      <a:cubicBezTo>
                        <a:pt x="133" y="193"/>
                        <a:pt x="98" y="158"/>
                        <a:pt x="98" y="114"/>
                      </a:cubicBezTo>
                      <a:cubicBezTo>
                        <a:pt x="98" y="70"/>
                        <a:pt x="133" y="35"/>
                        <a:pt x="177" y="35"/>
                      </a:cubicBezTo>
                      <a:cubicBezTo>
                        <a:pt x="221" y="35"/>
                        <a:pt x="256" y="70"/>
                        <a:pt x="256" y="114"/>
                      </a:cubicBezTo>
                      <a:cubicBezTo>
                        <a:pt x="256" y="158"/>
                        <a:pt x="221" y="193"/>
                        <a:pt x="177" y="193"/>
                      </a:cubicBezTo>
                      <a:close/>
                    </a:path>
                  </a:pathLst>
                </a:custGeom>
                <a:solidFill>
                  <a:srgbClr val="FB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5" name="Oval 27"/>
                <p:cNvSpPr>
                  <a:spLocks noChangeArrowheads="1"/>
                </p:cNvSpPr>
                <p:nvPr/>
              </p:nvSpPr>
              <p:spPr bwMode="auto">
                <a:xfrm>
                  <a:off x="5709404" y="703582"/>
                  <a:ext cx="284852" cy="286527"/>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61" name="Isosceles Triangle 160"/>
              <p:cNvSpPr/>
              <p:nvPr/>
            </p:nvSpPr>
            <p:spPr>
              <a:xfrm rot="5400000">
                <a:off x="10236667" y="2571094"/>
                <a:ext cx="292478" cy="25213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174" name="Group 173"/>
          <p:cNvGrpSpPr/>
          <p:nvPr/>
        </p:nvGrpSpPr>
        <p:grpSpPr>
          <a:xfrm>
            <a:off x="6813727" y="2704730"/>
            <a:ext cx="1600200" cy="1600200"/>
            <a:chOff x="6746821" y="2704730"/>
            <a:chExt cx="1600200" cy="1600200"/>
          </a:xfrm>
        </p:grpSpPr>
        <p:sp>
          <p:nvSpPr>
            <p:cNvPr id="113" name="Rectangle 112"/>
            <p:cNvSpPr/>
            <p:nvPr/>
          </p:nvSpPr>
          <p:spPr>
            <a:xfrm>
              <a:off x="6746821"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58" name="Group 157"/>
            <p:cNvGrpSpPr/>
            <p:nvPr/>
          </p:nvGrpSpPr>
          <p:grpSpPr>
            <a:xfrm>
              <a:off x="6899222" y="3097901"/>
              <a:ext cx="1295398" cy="813858"/>
              <a:chOff x="6899222" y="2290234"/>
              <a:chExt cx="1295398" cy="813858"/>
            </a:xfrm>
          </p:grpSpPr>
          <p:grpSp>
            <p:nvGrpSpPr>
              <p:cNvPr id="114" name="Group 113"/>
              <p:cNvGrpSpPr/>
              <p:nvPr/>
            </p:nvGrpSpPr>
            <p:grpSpPr>
              <a:xfrm>
                <a:off x="6899222" y="2290234"/>
                <a:ext cx="1295398" cy="813858"/>
                <a:chOff x="5531790" y="639909"/>
                <a:chExt cx="640080" cy="402143"/>
              </a:xfrm>
            </p:grpSpPr>
            <p:sp>
              <p:nvSpPr>
                <p:cNvPr id="115" name="Freeform 26"/>
                <p:cNvSpPr>
                  <a:spLocks noEditPoints="1"/>
                </p:cNvSpPr>
                <p:nvPr/>
              </p:nvSpPr>
              <p:spPr bwMode="auto">
                <a:xfrm>
                  <a:off x="5531790" y="639909"/>
                  <a:ext cx="640080" cy="402143"/>
                </a:xfrm>
                <a:custGeom>
                  <a:avLst/>
                  <a:gdLst>
                    <a:gd name="T0" fmla="*/ 348 w 354"/>
                    <a:gd name="T1" fmla="*/ 106 h 221"/>
                    <a:gd name="T2" fmla="*/ 268 w 354"/>
                    <a:gd name="T3" fmla="*/ 35 h 221"/>
                    <a:gd name="T4" fmla="*/ 134 w 354"/>
                    <a:gd name="T5" fmla="*/ 14 h 221"/>
                    <a:gd name="T6" fmla="*/ 4 w 354"/>
                    <a:gd name="T7" fmla="*/ 109 h 221"/>
                    <a:gd name="T8" fmla="*/ 5 w 354"/>
                    <a:gd name="T9" fmla="*/ 119 h 221"/>
                    <a:gd name="T10" fmla="*/ 13 w 354"/>
                    <a:gd name="T11" fmla="*/ 129 h 221"/>
                    <a:gd name="T12" fmla="*/ 170 w 354"/>
                    <a:gd name="T13" fmla="*/ 221 h 221"/>
                    <a:gd name="T14" fmla="*/ 178 w 354"/>
                    <a:gd name="T15" fmla="*/ 220 h 221"/>
                    <a:gd name="T16" fmla="*/ 350 w 354"/>
                    <a:gd name="T17" fmla="*/ 119 h 221"/>
                    <a:gd name="T18" fmla="*/ 348 w 354"/>
                    <a:gd name="T19" fmla="*/ 106 h 221"/>
                    <a:gd name="T20" fmla="*/ 177 w 354"/>
                    <a:gd name="T21" fmla="*/ 193 h 221"/>
                    <a:gd name="T22" fmla="*/ 98 w 354"/>
                    <a:gd name="T23" fmla="*/ 114 h 221"/>
                    <a:gd name="T24" fmla="*/ 177 w 354"/>
                    <a:gd name="T25" fmla="*/ 35 h 221"/>
                    <a:gd name="T26" fmla="*/ 256 w 354"/>
                    <a:gd name="T27" fmla="*/ 114 h 221"/>
                    <a:gd name="T28" fmla="*/ 177 w 354"/>
                    <a:gd name="T29"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4" h="221">
                      <a:moveTo>
                        <a:pt x="348" y="106"/>
                      </a:moveTo>
                      <a:cubicBezTo>
                        <a:pt x="325" y="78"/>
                        <a:pt x="299" y="54"/>
                        <a:pt x="268" y="35"/>
                      </a:cubicBezTo>
                      <a:cubicBezTo>
                        <a:pt x="226" y="10"/>
                        <a:pt x="181" y="0"/>
                        <a:pt x="134" y="14"/>
                      </a:cubicBezTo>
                      <a:cubicBezTo>
                        <a:pt x="81" y="30"/>
                        <a:pt x="41" y="66"/>
                        <a:pt x="4" y="109"/>
                      </a:cubicBezTo>
                      <a:cubicBezTo>
                        <a:pt x="0" y="113"/>
                        <a:pt x="2" y="116"/>
                        <a:pt x="5" y="119"/>
                      </a:cubicBezTo>
                      <a:cubicBezTo>
                        <a:pt x="7" y="122"/>
                        <a:pt x="10" y="126"/>
                        <a:pt x="13" y="129"/>
                      </a:cubicBezTo>
                      <a:cubicBezTo>
                        <a:pt x="57" y="179"/>
                        <a:pt x="107" y="215"/>
                        <a:pt x="170" y="221"/>
                      </a:cubicBezTo>
                      <a:cubicBezTo>
                        <a:pt x="174" y="221"/>
                        <a:pt x="176" y="221"/>
                        <a:pt x="178" y="220"/>
                      </a:cubicBezTo>
                      <a:cubicBezTo>
                        <a:pt x="250" y="217"/>
                        <a:pt x="303" y="176"/>
                        <a:pt x="350" y="119"/>
                      </a:cubicBezTo>
                      <a:cubicBezTo>
                        <a:pt x="354" y="114"/>
                        <a:pt x="351" y="110"/>
                        <a:pt x="348" y="106"/>
                      </a:cubicBezTo>
                      <a:close/>
                      <a:moveTo>
                        <a:pt x="177" y="193"/>
                      </a:moveTo>
                      <a:cubicBezTo>
                        <a:pt x="133" y="193"/>
                        <a:pt x="98" y="158"/>
                        <a:pt x="98" y="114"/>
                      </a:cubicBezTo>
                      <a:cubicBezTo>
                        <a:pt x="98" y="70"/>
                        <a:pt x="133" y="35"/>
                        <a:pt x="177" y="35"/>
                      </a:cubicBezTo>
                      <a:cubicBezTo>
                        <a:pt x="221" y="35"/>
                        <a:pt x="256" y="70"/>
                        <a:pt x="256" y="114"/>
                      </a:cubicBezTo>
                      <a:cubicBezTo>
                        <a:pt x="256" y="158"/>
                        <a:pt x="221" y="193"/>
                        <a:pt x="177" y="193"/>
                      </a:cubicBezTo>
                      <a:close/>
                    </a:path>
                  </a:pathLst>
                </a:custGeom>
                <a:solidFill>
                  <a:srgbClr val="FB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6" name="Oval 27"/>
                <p:cNvSpPr>
                  <a:spLocks noChangeArrowheads="1"/>
                </p:cNvSpPr>
                <p:nvPr/>
              </p:nvSpPr>
              <p:spPr bwMode="auto">
                <a:xfrm>
                  <a:off x="5709404" y="703582"/>
                  <a:ext cx="284852" cy="286527"/>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57" name="Group 156"/>
              <p:cNvGrpSpPr/>
              <p:nvPr/>
            </p:nvGrpSpPr>
            <p:grpSpPr>
              <a:xfrm>
                <a:off x="7370202" y="2592176"/>
                <a:ext cx="353433" cy="313865"/>
                <a:chOff x="7370202" y="2592176"/>
                <a:chExt cx="353433" cy="313865"/>
              </a:xfrm>
            </p:grpSpPr>
            <p:sp>
              <p:nvSpPr>
                <p:cNvPr id="152" name="Oval 151"/>
                <p:cNvSpPr/>
                <p:nvPr/>
              </p:nvSpPr>
              <p:spPr>
                <a:xfrm>
                  <a:off x="7370202" y="2592176"/>
                  <a:ext cx="98138" cy="9813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3" name="Oval 152"/>
                <p:cNvSpPr/>
                <p:nvPr/>
              </p:nvSpPr>
              <p:spPr>
                <a:xfrm>
                  <a:off x="7625497" y="2592177"/>
                  <a:ext cx="98138" cy="9813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5" name="Oval 154"/>
                <p:cNvSpPr/>
                <p:nvPr/>
              </p:nvSpPr>
              <p:spPr>
                <a:xfrm>
                  <a:off x="7473166" y="2758536"/>
                  <a:ext cx="147505" cy="14750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grpSp>
        <p:nvGrpSpPr>
          <p:cNvPr id="173" name="Group 172"/>
          <p:cNvGrpSpPr/>
          <p:nvPr/>
        </p:nvGrpSpPr>
        <p:grpSpPr>
          <a:xfrm>
            <a:off x="4023936" y="2704730"/>
            <a:ext cx="1600200" cy="1600200"/>
            <a:chOff x="3957030" y="2704730"/>
            <a:chExt cx="1600200" cy="1600200"/>
          </a:xfrm>
        </p:grpSpPr>
        <p:sp>
          <p:nvSpPr>
            <p:cNvPr id="102" name="Rectangle 101"/>
            <p:cNvSpPr/>
            <p:nvPr/>
          </p:nvSpPr>
          <p:spPr>
            <a:xfrm>
              <a:off x="3957030"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49" name="Group 148"/>
            <p:cNvGrpSpPr/>
            <p:nvPr/>
          </p:nvGrpSpPr>
          <p:grpSpPr>
            <a:xfrm>
              <a:off x="4109431" y="3097901"/>
              <a:ext cx="1295398" cy="813858"/>
              <a:chOff x="4109431" y="2290234"/>
              <a:chExt cx="1295398" cy="813858"/>
            </a:xfrm>
          </p:grpSpPr>
          <p:grpSp>
            <p:nvGrpSpPr>
              <p:cNvPr id="103" name="Group 102"/>
              <p:cNvGrpSpPr/>
              <p:nvPr/>
            </p:nvGrpSpPr>
            <p:grpSpPr>
              <a:xfrm>
                <a:off x="4109431" y="2290234"/>
                <a:ext cx="1295398" cy="813858"/>
                <a:chOff x="5531790" y="639909"/>
                <a:chExt cx="640080" cy="402143"/>
              </a:xfrm>
            </p:grpSpPr>
            <p:sp>
              <p:nvSpPr>
                <p:cNvPr id="104" name="Freeform 26"/>
                <p:cNvSpPr>
                  <a:spLocks noEditPoints="1"/>
                </p:cNvSpPr>
                <p:nvPr/>
              </p:nvSpPr>
              <p:spPr bwMode="auto">
                <a:xfrm>
                  <a:off x="5531790" y="639909"/>
                  <a:ext cx="640080" cy="402143"/>
                </a:xfrm>
                <a:custGeom>
                  <a:avLst/>
                  <a:gdLst>
                    <a:gd name="T0" fmla="*/ 348 w 354"/>
                    <a:gd name="T1" fmla="*/ 106 h 221"/>
                    <a:gd name="T2" fmla="*/ 268 w 354"/>
                    <a:gd name="T3" fmla="*/ 35 h 221"/>
                    <a:gd name="T4" fmla="*/ 134 w 354"/>
                    <a:gd name="T5" fmla="*/ 14 h 221"/>
                    <a:gd name="T6" fmla="*/ 4 w 354"/>
                    <a:gd name="T7" fmla="*/ 109 h 221"/>
                    <a:gd name="T8" fmla="*/ 5 w 354"/>
                    <a:gd name="T9" fmla="*/ 119 h 221"/>
                    <a:gd name="T10" fmla="*/ 13 w 354"/>
                    <a:gd name="T11" fmla="*/ 129 h 221"/>
                    <a:gd name="T12" fmla="*/ 170 w 354"/>
                    <a:gd name="T13" fmla="*/ 221 h 221"/>
                    <a:gd name="T14" fmla="*/ 178 w 354"/>
                    <a:gd name="T15" fmla="*/ 220 h 221"/>
                    <a:gd name="T16" fmla="*/ 350 w 354"/>
                    <a:gd name="T17" fmla="*/ 119 h 221"/>
                    <a:gd name="T18" fmla="*/ 348 w 354"/>
                    <a:gd name="T19" fmla="*/ 106 h 221"/>
                    <a:gd name="T20" fmla="*/ 177 w 354"/>
                    <a:gd name="T21" fmla="*/ 193 h 221"/>
                    <a:gd name="T22" fmla="*/ 98 w 354"/>
                    <a:gd name="T23" fmla="*/ 114 h 221"/>
                    <a:gd name="T24" fmla="*/ 177 w 354"/>
                    <a:gd name="T25" fmla="*/ 35 h 221"/>
                    <a:gd name="T26" fmla="*/ 256 w 354"/>
                    <a:gd name="T27" fmla="*/ 114 h 221"/>
                    <a:gd name="T28" fmla="*/ 177 w 354"/>
                    <a:gd name="T29"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4" h="221">
                      <a:moveTo>
                        <a:pt x="348" y="106"/>
                      </a:moveTo>
                      <a:cubicBezTo>
                        <a:pt x="325" y="78"/>
                        <a:pt x="299" y="54"/>
                        <a:pt x="268" y="35"/>
                      </a:cubicBezTo>
                      <a:cubicBezTo>
                        <a:pt x="226" y="10"/>
                        <a:pt x="181" y="0"/>
                        <a:pt x="134" y="14"/>
                      </a:cubicBezTo>
                      <a:cubicBezTo>
                        <a:pt x="81" y="30"/>
                        <a:pt x="41" y="66"/>
                        <a:pt x="4" y="109"/>
                      </a:cubicBezTo>
                      <a:cubicBezTo>
                        <a:pt x="0" y="113"/>
                        <a:pt x="2" y="116"/>
                        <a:pt x="5" y="119"/>
                      </a:cubicBezTo>
                      <a:cubicBezTo>
                        <a:pt x="7" y="122"/>
                        <a:pt x="10" y="126"/>
                        <a:pt x="13" y="129"/>
                      </a:cubicBezTo>
                      <a:cubicBezTo>
                        <a:pt x="57" y="179"/>
                        <a:pt x="107" y="215"/>
                        <a:pt x="170" y="221"/>
                      </a:cubicBezTo>
                      <a:cubicBezTo>
                        <a:pt x="174" y="221"/>
                        <a:pt x="176" y="221"/>
                        <a:pt x="178" y="220"/>
                      </a:cubicBezTo>
                      <a:cubicBezTo>
                        <a:pt x="250" y="217"/>
                        <a:pt x="303" y="176"/>
                        <a:pt x="350" y="119"/>
                      </a:cubicBezTo>
                      <a:cubicBezTo>
                        <a:pt x="354" y="114"/>
                        <a:pt x="351" y="110"/>
                        <a:pt x="348" y="106"/>
                      </a:cubicBezTo>
                      <a:close/>
                      <a:moveTo>
                        <a:pt x="177" y="193"/>
                      </a:moveTo>
                      <a:cubicBezTo>
                        <a:pt x="133" y="193"/>
                        <a:pt x="98" y="158"/>
                        <a:pt x="98" y="114"/>
                      </a:cubicBezTo>
                      <a:cubicBezTo>
                        <a:pt x="98" y="70"/>
                        <a:pt x="133" y="35"/>
                        <a:pt x="177" y="35"/>
                      </a:cubicBezTo>
                      <a:cubicBezTo>
                        <a:pt x="221" y="35"/>
                        <a:pt x="256" y="70"/>
                        <a:pt x="256" y="114"/>
                      </a:cubicBezTo>
                      <a:cubicBezTo>
                        <a:pt x="256" y="158"/>
                        <a:pt x="221" y="193"/>
                        <a:pt x="177" y="193"/>
                      </a:cubicBezTo>
                      <a:close/>
                    </a:path>
                  </a:pathLst>
                </a:custGeom>
                <a:solidFill>
                  <a:srgbClr val="FB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5" name="Oval 27"/>
                <p:cNvSpPr>
                  <a:spLocks noChangeArrowheads="1"/>
                </p:cNvSpPr>
                <p:nvPr/>
              </p:nvSpPr>
              <p:spPr bwMode="auto">
                <a:xfrm>
                  <a:off x="5709404" y="703582"/>
                  <a:ext cx="284852" cy="286527"/>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4" name="Group 43"/>
              <p:cNvGrpSpPr/>
              <p:nvPr/>
            </p:nvGrpSpPr>
            <p:grpSpPr>
              <a:xfrm>
                <a:off x="4575518" y="2593197"/>
                <a:ext cx="363224" cy="294465"/>
                <a:chOff x="4621484" y="2700473"/>
                <a:chExt cx="255710" cy="207303"/>
              </a:xfrm>
            </p:grpSpPr>
            <p:sp>
              <p:nvSpPr>
                <p:cNvPr id="144" name="Freeform 143"/>
                <p:cNvSpPr/>
                <p:nvPr/>
              </p:nvSpPr>
              <p:spPr>
                <a:xfrm>
                  <a:off x="4621484" y="2838976"/>
                  <a:ext cx="255710" cy="68800"/>
                </a:xfrm>
                <a:custGeom>
                  <a:avLst/>
                  <a:gdLst>
                    <a:gd name="connsiteX0" fmla="*/ 0 w 743647"/>
                    <a:gd name="connsiteY0" fmla="*/ 0 h 200082"/>
                    <a:gd name="connsiteX1" fmla="*/ 80252 w 743647"/>
                    <a:gd name="connsiteY1" fmla="*/ 29372 h 200082"/>
                    <a:gd name="connsiteX2" fmla="*/ 387316 w 743647"/>
                    <a:gd name="connsiteY2" fmla="*/ 75796 h 200082"/>
                    <a:gd name="connsiteX3" fmla="*/ 694380 w 743647"/>
                    <a:gd name="connsiteY3" fmla="*/ 29372 h 200082"/>
                    <a:gd name="connsiteX4" fmla="*/ 743647 w 743647"/>
                    <a:gd name="connsiteY4" fmla="*/ 11340 h 200082"/>
                    <a:gd name="connsiteX5" fmla="*/ 697688 w 743647"/>
                    <a:gd name="connsiteY5" fmla="*/ 67043 h 200082"/>
                    <a:gd name="connsiteX6" fmla="*/ 376502 w 743647"/>
                    <a:gd name="connsiteY6" fmla="*/ 200082 h 200082"/>
                    <a:gd name="connsiteX7" fmla="*/ 55316 w 743647"/>
                    <a:gd name="connsiteY7" fmla="*/ 67043 h 200082"/>
                    <a:gd name="connsiteX8" fmla="*/ 0 w 743647"/>
                    <a:gd name="connsiteY8" fmla="*/ 0 h 20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3647" h="200082">
                      <a:moveTo>
                        <a:pt x="0" y="0"/>
                      </a:moveTo>
                      <a:lnTo>
                        <a:pt x="80252" y="29372"/>
                      </a:lnTo>
                      <a:cubicBezTo>
                        <a:pt x="177254" y="59543"/>
                        <a:pt x="280387" y="75796"/>
                        <a:pt x="387316" y="75796"/>
                      </a:cubicBezTo>
                      <a:cubicBezTo>
                        <a:pt x="494246" y="75796"/>
                        <a:pt x="597379" y="59543"/>
                        <a:pt x="694380" y="29372"/>
                      </a:cubicBezTo>
                      <a:lnTo>
                        <a:pt x="743647" y="11340"/>
                      </a:lnTo>
                      <a:lnTo>
                        <a:pt x="697688" y="67043"/>
                      </a:lnTo>
                      <a:cubicBezTo>
                        <a:pt x="615489" y="149241"/>
                        <a:pt x="501933" y="200082"/>
                        <a:pt x="376502" y="200082"/>
                      </a:cubicBezTo>
                      <a:cubicBezTo>
                        <a:pt x="251071" y="200082"/>
                        <a:pt x="137515" y="149241"/>
                        <a:pt x="55316" y="67043"/>
                      </a:cubicBez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25000" noProof="0" dirty="0">
                    <a:ln>
                      <a:noFill/>
                    </a:ln>
                    <a:solidFill>
                      <a:prstClr val="white"/>
                    </a:solidFill>
                    <a:effectLst/>
                    <a:uLnTx/>
                    <a:uFillTx/>
                    <a:latin typeface="Segoe UI"/>
                    <a:ea typeface="+mn-ea"/>
                    <a:cs typeface="+mn-cs"/>
                  </a:endParaRPr>
                </a:p>
              </p:txBody>
            </p:sp>
            <p:sp>
              <p:nvSpPr>
                <p:cNvPr id="41" name="Oval 40"/>
                <p:cNvSpPr/>
                <p:nvPr/>
              </p:nvSpPr>
              <p:spPr>
                <a:xfrm>
                  <a:off x="4624930" y="2700473"/>
                  <a:ext cx="69089" cy="6908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7" name="Oval 146"/>
                <p:cNvSpPr/>
                <p:nvPr/>
              </p:nvSpPr>
              <p:spPr>
                <a:xfrm>
                  <a:off x="4804658" y="2700474"/>
                  <a:ext cx="69089" cy="6908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grpSp>
        <p:nvGrpSpPr>
          <p:cNvPr id="172" name="Group 171"/>
          <p:cNvGrpSpPr/>
          <p:nvPr/>
        </p:nvGrpSpPr>
        <p:grpSpPr>
          <a:xfrm>
            <a:off x="1234145" y="2704730"/>
            <a:ext cx="1600200" cy="1600200"/>
            <a:chOff x="1167239" y="2704730"/>
            <a:chExt cx="1600200" cy="1600200"/>
          </a:xfrm>
        </p:grpSpPr>
        <p:sp>
          <p:nvSpPr>
            <p:cNvPr id="6" name="Rectangle 5"/>
            <p:cNvSpPr/>
            <p:nvPr/>
          </p:nvSpPr>
          <p:spPr>
            <a:xfrm>
              <a:off x="1167239"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6" name="Group 25"/>
            <p:cNvGrpSpPr/>
            <p:nvPr/>
          </p:nvGrpSpPr>
          <p:grpSpPr>
            <a:xfrm>
              <a:off x="1319640" y="3097901"/>
              <a:ext cx="1295398" cy="813858"/>
              <a:chOff x="1319640" y="2290234"/>
              <a:chExt cx="1295398" cy="813858"/>
            </a:xfrm>
          </p:grpSpPr>
          <p:grpSp>
            <p:nvGrpSpPr>
              <p:cNvPr id="7" name="Group 6"/>
              <p:cNvGrpSpPr/>
              <p:nvPr/>
            </p:nvGrpSpPr>
            <p:grpSpPr>
              <a:xfrm>
                <a:off x="1319640" y="2290234"/>
                <a:ext cx="1295398" cy="813858"/>
                <a:chOff x="5531790" y="639909"/>
                <a:chExt cx="640080" cy="402143"/>
              </a:xfrm>
            </p:grpSpPr>
            <p:sp>
              <p:nvSpPr>
                <p:cNvPr id="42" name="Freeform 26"/>
                <p:cNvSpPr>
                  <a:spLocks noEditPoints="1"/>
                </p:cNvSpPr>
                <p:nvPr/>
              </p:nvSpPr>
              <p:spPr bwMode="auto">
                <a:xfrm>
                  <a:off x="5531790" y="639909"/>
                  <a:ext cx="640080" cy="402143"/>
                </a:xfrm>
                <a:custGeom>
                  <a:avLst/>
                  <a:gdLst>
                    <a:gd name="T0" fmla="*/ 348 w 354"/>
                    <a:gd name="T1" fmla="*/ 106 h 221"/>
                    <a:gd name="T2" fmla="*/ 268 w 354"/>
                    <a:gd name="T3" fmla="*/ 35 h 221"/>
                    <a:gd name="T4" fmla="*/ 134 w 354"/>
                    <a:gd name="T5" fmla="*/ 14 h 221"/>
                    <a:gd name="T6" fmla="*/ 4 w 354"/>
                    <a:gd name="T7" fmla="*/ 109 h 221"/>
                    <a:gd name="T8" fmla="*/ 5 w 354"/>
                    <a:gd name="T9" fmla="*/ 119 h 221"/>
                    <a:gd name="T10" fmla="*/ 13 w 354"/>
                    <a:gd name="T11" fmla="*/ 129 h 221"/>
                    <a:gd name="T12" fmla="*/ 170 w 354"/>
                    <a:gd name="T13" fmla="*/ 221 h 221"/>
                    <a:gd name="T14" fmla="*/ 178 w 354"/>
                    <a:gd name="T15" fmla="*/ 220 h 221"/>
                    <a:gd name="T16" fmla="*/ 350 w 354"/>
                    <a:gd name="T17" fmla="*/ 119 h 221"/>
                    <a:gd name="T18" fmla="*/ 348 w 354"/>
                    <a:gd name="T19" fmla="*/ 106 h 221"/>
                    <a:gd name="T20" fmla="*/ 177 w 354"/>
                    <a:gd name="T21" fmla="*/ 193 h 221"/>
                    <a:gd name="T22" fmla="*/ 98 w 354"/>
                    <a:gd name="T23" fmla="*/ 114 h 221"/>
                    <a:gd name="T24" fmla="*/ 177 w 354"/>
                    <a:gd name="T25" fmla="*/ 35 h 221"/>
                    <a:gd name="T26" fmla="*/ 256 w 354"/>
                    <a:gd name="T27" fmla="*/ 114 h 221"/>
                    <a:gd name="T28" fmla="*/ 177 w 354"/>
                    <a:gd name="T29"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4" h="221">
                      <a:moveTo>
                        <a:pt x="348" y="106"/>
                      </a:moveTo>
                      <a:cubicBezTo>
                        <a:pt x="325" y="78"/>
                        <a:pt x="299" y="54"/>
                        <a:pt x="268" y="35"/>
                      </a:cubicBezTo>
                      <a:cubicBezTo>
                        <a:pt x="226" y="10"/>
                        <a:pt x="181" y="0"/>
                        <a:pt x="134" y="14"/>
                      </a:cubicBezTo>
                      <a:cubicBezTo>
                        <a:pt x="81" y="30"/>
                        <a:pt x="41" y="66"/>
                        <a:pt x="4" y="109"/>
                      </a:cubicBezTo>
                      <a:cubicBezTo>
                        <a:pt x="0" y="113"/>
                        <a:pt x="2" y="116"/>
                        <a:pt x="5" y="119"/>
                      </a:cubicBezTo>
                      <a:cubicBezTo>
                        <a:pt x="7" y="122"/>
                        <a:pt x="10" y="126"/>
                        <a:pt x="13" y="129"/>
                      </a:cubicBezTo>
                      <a:cubicBezTo>
                        <a:pt x="57" y="179"/>
                        <a:pt x="107" y="215"/>
                        <a:pt x="170" y="221"/>
                      </a:cubicBezTo>
                      <a:cubicBezTo>
                        <a:pt x="174" y="221"/>
                        <a:pt x="176" y="221"/>
                        <a:pt x="178" y="220"/>
                      </a:cubicBezTo>
                      <a:cubicBezTo>
                        <a:pt x="250" y="217"/>
                        <a:pt x="303" y="176"/>
                        <a:pt x="350" y="119"/>
                      </a:cubicBezTo>
                      <a:cubicBezTo>
                        <a:pt x="354" y="114"/>
                        <a:pt x="351" y="110"/>
                        <a:pt x="348" y="106"/>
                      </a:cubicBezTo>
                      <a:close/>
                      <a:moveTo>
                        <a:pt x="177" y="193"/>
                      </a:moveTo>
                      <a:cubicBezTo>
                        <a:pt x="133" y="193"/>
                        <a:pt x="98" y="158"/>
                        <a:pt x="98" y="114"/>
                      </a:cubicBezTo>
                      <a:cubicBezTo>
                        <a:pt x="98" y="70"/>
                        <a:pt x="133" y="35"/>
                        <a:pt x="177" y="35"/>
                      </a:cubicBezTo>
                      <a:cubicBezTo>
                        <a:pt x="221" y="35"/>
                        <a:pt x="256" y="70"/>
                        <a:pt x="256" y="114"/>
                      </a:cubicBezTo>
                      <a:cubicBezTo>
                        <a:pt x="256" y="158"/>
                        <a:pt x="221" y="193"/>
                        <a:pt x="177" y="193"/>
                      </a:cubicBezTo>
                      <a:close/>
                    </a:path>
                  </a:pathLst>
                </a:custGeom>
                <a:solidFill>
                  <a:srgbClr val="FB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3" name="Oval 27"/>
                <p:cNvSpPr>
                  <a:spLocks noChangeArrowheads="1"/>
                </p:cNvSpPr>
                <p:nvPr/>
              </p:nvSpPr>
              <p:spPr bwMode="auto">
                <a:xfrm>
                  <a:off x="5709404" y="703582"/>
                  <a:ext cx="284852" cy="286527"/>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22" name="Rectangle 21"/>
              <p:cNvSpPr/>
              <p:nvPr/>
            </p:nvSpPr>
            <p:spPr>
              <a:xfrm>
                <a:off x="1831662" y="2575143"/>
                <a:ext cx="108904" cy="1089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0" name="Rectangle 139"/>
              <p:cNvSpPr/>
              <p:nvPr/>
            </p:nvSpPr>
            <p:spPr>
              <a:xfrm>
                <a:off x="1994108" y="2575143"/>
                <a:ext cx="108904" cy="1089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1" name="Rectangle 140"/>
              <p:cNvSpPr/>
              <p:nvPr/>
            </p:nvSpPr>
            <p:spPr>
              <a:xfrm>
                <a:off x="1831662" y="2734018"/>
                <a:ext cx="108904" cy="1089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2" name="Rectangle 141"/>
              <p:cNvSpPr/>
              <p:nvPr/>
            </p:nvSpPr>
            <p:spPr>
              <a:xfrm>
                <a:off x="1994108" y="2734018"/>
                <a:ext cx="108904" cy="1089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165" name="Group 164"/>
          <p:cNvGrpSpPr/>
          <p:nvPr/>
        </p:nvGrpSpPr>
        <p:grpSpPr>
          <a:xfrm>
            <a:off x="571203" y="4466134"/>
            <a:ext cx="2926080" cy="1205502"/>
            <a:chOff x="504297" y="3658467"/>
            <a:chExt cx="2926080" cy="1205502"/>
          </a:xfrm>
        </p:grpSpPr>
        <p:sp>
          <p:nvSpPr>
            <p:cNvPr id="127" name="TextBox 126"/>
            <p:cNvSpPr txBox="1"/>
            <p:nvPr/>
          </p:nvSpPr>
          <p:spPr>
            <a:xfrm>
              <a:off x="504297" y="3658467"/>
              <a:ext cx="2926080" cy="572464"/>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Computer Vision API</a:t>
              </a:r>
            </a:p>
          </p:txBody>
        </p:sp>
        <p:sp>
          <p:nvSpPr>
            <p:cNvPr id="20" name="Rectangle 19"/>
            <p:cNvSpPr/>
            <p:nvPr/>
          </p:nvSpPr>
          <p:spPr>
            <a:xfrm>
              <a:off x="758213" y="4300738"/>
              <a:ext cx="2418248" cy="563231"/>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Distill actionable information from images</a:t>
              </a:r>
              <a:r>
                <a:rPr kumimoji="0" lang="en-US" sz="1700" b="1" i="0" u="none" strike="noStrike" kern="1200" cap="none" spc="0" normalizeH="0" baseline="0" noProof="0" dirty="0">
                  <a:ln>
                    <a:noFill/>
                  </a:ln>
                  <a:solidFill>
                    <a:srgbClr val="505050"/>
                  </a:solidFill>
                  <a:effectLst/>
                  <a:uLnTx/>
                  <a:uFillTx/>
                  <a:latin typeface="Segoe UI"/>
                  <a:ea typeface="+mn-ea"/>
                  <a:cs typeface="+mn-cs"/>
                </a:rPr>
                <a:t> </a:t>
              </a:r>
            </a:p>
          </p:txBody>
        </p:sp>
      </p:grpSp>
      <p:grpSp>
        <p:nvGrpSpPr>
          <p:cNvPr id="168" name="Group 167"/>
          <p:cNvGrpSpPr/>
          <p:nvPr/>
        </p:nvGrpSpPr>
        <p:grpSpPr>
          <a:xfrm>
            <a:off x="8940575" y="4466134"/>
            <a:ext cx="2926080" cy="1205502"/>
            <a:chOff x="8873669" y="3658467"/>
            <a:chExt cx="2926080" cy="1205502"/>
          </a:xfrm>
        </p:grpSpPr>
        <p:sp>
          <p:nvSpPr>
            <p:cNvPr id="132" name="TextBox 131"/>
            <p:cNvSpPr txBox="1"/>
            <p:nvPr/>
          </p:nvSpPr>
          <p:spPr>
            <a:xfrm>
              <a:off x="8873669" y="3658467"/>
              <a:ext cx="2926080" cy="572464"/>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Video API</a:t>
              </a:r>
            </a:p>
          </p:txBody>
        </p:sp>
        <p:sp>
          <p:nvSpPr>
            <p:cNvPr id="133" name="Rectangle 132"/>
            <p:cNvSpPr/>
            <p:nvPr/>
          </p:nvSpPr>
          <p:spPr>
            <a:xfrm>
              <a:off x="9127585" y="4300738"/>
              <a:ext cx="2418248" cy="563231"/>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Analyze, edit, and process videos within your app</a:t>
              </a:r>
            </a:p>
          </p:txBody>
        </p:sp>
      </p:grpSp>
      <p:grpSp>
        <p:nvGrpSpPr>
          <p:cNvPr id="166" name="Group 165"/>
          <p:cNvGrpSpPr/>
          <p:nvPr/>
        </p:nvGrpSpPr>
        <p:grpSpPr>
          <a:xfrm>
            <a:off x="3360994" y="4466134"/>
            <a:ext cx="2926080" cy="1440951"/>
            <a:chOff x="3294088" y="3658467"/>
            <a:chExt cx="2926080" cy="1440951"/>
          </a:xfrm>
        </p:grpSpPr>
        <p:sp>
          <p:nvSpPr>
            <p:cNvPr id="135" name="TextBox 134"/>
            <p:cNvSpPr txBox="1"/>
            <p:nvPr/>
          </p:nvSpPr>
          <p:spPr>
            <a:xfrm>
              <a:off x="3294088" y="3658467"/>
              <a:ext cx="2926080" cy="572464"/>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Face API</a:t>
              </a:r>
            </a:p>
          </p:txBody>
        </p:sp>
        <p:sp>
          <p:nvSpPr>
            <p:cNvPr id="136" name="Rectangle 135"/>
            <p:cNvSpPr/>
            <p:nvPr/>
          </p:nvSpPr>
          <p:spPr>
            <a:xfrm>
              <a:off x="3548004" y="4300738"/>
              <a:ext cx="2418248" cy="798680"/>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Detect, identify, analyze, organize, and tag faces in photos</a:t>
              </a:r>
            </a:p>
          </p:txBody>
        </p:sp>
      </p:grpSp>
      <p:grpSp>
        <p:nvGrpSpPr>
          <p:cNvPr id="167" name="Group 166"/>
          <p:cNvGrpSpPr/>
          <p:nvPr/>
        </p:nvGrpSpPr>
        <p:grpSpPr>
          <a:xfrm>
            <a:off x="6150785" y="4466134"/>
            <a:ext cx="2926080" cy="1205502"/>
            <a:chOff x="6083879" y="3658467"/>
            <a:chExt cx="2926080" cy="1205502"/>
          </a:xfrm>
        </p:grpSpPr>
        <p:sp>
          <p:nvSpPr>
            <p:cNvPr id="138" name="TextBox 137"/>
            <p:cNvSpPr txBox="1"/>
            <p:nvPr/>
          </p:nvSpPr>
          <p:spPr>
            <a:xfrm>
              <a:off x="6083879" y="3658467"/>
              <a:ext cx="2926080" cy="572464"/>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Emotion API</a:t>
              </a:r>
            </a:p>
          </p:txBody>
        </p:sp>
        <p:sp>
          <p:nvSpPr>
            <p:cNvPr id="139" name="Rectangle 138"/>
            <p:cNvSpPr/>
            <p:nvPr/>
          </p:nvSpPr>
          <p:spPr>
            <a:xfrm>
              <a:off x="6337795" y="4300738"/>
              <a:ext cx="2418248" cy="563231"/>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Personalize experiences with emotion recognition</a:t>
              </a:r>
            </a:p>
          </p:txBody>
        </p:sp>
      </p:grpSp>
      <p:sp>
        <p:nvSpPr>
          <p:cNvPr id="40" name="Rectangle 39"/>
          <p:cNvSpPr/>
          <p:nvPr/>
        </p:nvSpPr>
        <p:spPr>
          <a:xfrm>
            <a:off x="1352882" y="374541"/>
            <a:ext cx="2503155" cy="769441"/>
          </a:xfrm>
          <a:prstGeom prst="rect">
            <a:avLst/>
          </a:prstGeom>
        </p:spPr>
        <p:txBody>
          <a:bodyPr wrap="square" anchor="ctr">
            <a:spAutoFit/>
          </a:bodyPr>
          <a:lstStyle/>
          <a:p>
            <a:pPr marL="182845" marR="0" lvl="0" indent="0" algn="l" defTabSz="931741" rtl="0" eaLnBrk="1" fontAlgn="base" latinLnBrk="0" hangingPunct="1">
              <a:lnSpc>
                <a:spcPct val="100000"/>
              </a:lnSpc>
              <a:spcBef>
                <a:spcPts val="1199"/>
              </a:spcBef>
              <a:spcAft>
                <a:spcPts val="1199"/>
              </a:spcAft>
              <a:buClrTx/>
              <a:buSzTx/>
              <a:buFontTx/>
              <a:buNone/>
              <a:tabLst/>
              <a:defRPr/>
            </a:pPr>
            <a:r>
              <a:rPr kumimoji="0" lang="en-US" sz="44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rPr>
              <a:t>Vision</a:t>
            </a:r>
          </a:p>
        </p:txBody>
      </p:sp>
      <p:sp>
        <p:nvSpPr>
          <p:cNvPr id="70" name="Freeform 22"/>
          <p:cNvSpPr>
            <a:spLocks noChangeAspect="1"/>
          </p:cNvSpPr>
          <p:nvPr/>
        </p:nvSpPr>
        <p:spPr bwMode="auto">
          <a:xfrm>
            <a:off x="614843" y="536091"/>
            <a:ext cx="674510" cy="446340"/>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083122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after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barn(outHorizontal)">
                                      <p:cBhvr>
                                        <p:cTn id="7" dur="500"/>
                                        <p:tgtEl>
                                          <p:spTgt spid="70"/>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70"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uter Vision: 86 Categories</a:t>
            </a:r>
          </a:p>
        </p:txBody>
      </p:sp>
      <p:sp>
        <p:nvSpPr>
          <p:cNvPr id="3" name="Text Placeholder 2"/>
          <p:cNvSpPr>
            <a:spLocks noGrp="1"/>
          </p:cNvSpPr>
          <p:nvPr>
            <p:ph type="body" sz="quarter" idx="10"/>
          </p:nvPr>
        </p:nvSpPr>
        <p:spPr/>
        <p:txBody>
          <a:bodyPr/>
          <a:lstStyle/>
          <a:p>
            <a:endParaRPr lang="en-US"/>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22437" y="1206970"/>
            <a:ext cx="7860780" cy="5637213"/>
          </a:xfrm>
          <a:prstGeom prst="rect">
            <a:avLst/>
          </a:prstGeom>
        </p:spPr>
      </p:pic>
    </p:spTree>
    <p:extLst>
      <p:ext uri="{BB962C8B-B14F-4D97-AF65-F5344CB8AC3E}">
        <p14:creationId xmlns:p14="http://schemas.microsoft.com/office/powerpoint/2010/main" val="177451105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a:t>
            </a:r>
          </a:p>
        </p:txBody>
      </p:sp>
      <p:sp>
        <p:nvSpPr>
          <p:cNvPr id="3" name="Text Placeholder 2"/>
          <p:cNvSpPr>
            <a:spLocks noGrp="1"/>
          </p:cNvSpPr>
          <p:nvPr>
            <p:ph type="body" sz="quarter" idx="10"/>
          </p:nvPr>
        </p:nvSpPr>
        <p:spPr>
          <a:xfrm>
            <a:off x="274638" y="1212850"/>
            <a:ext cx="11887200" cy="4739759"/>
          </a:xfrm>
        </p:spPr>
        <p:txBody>
          <a:bodyPr/>
          <a:lstStyle/>
          <a:p>
            <a:r>
              <a:rPr lang="en-US" dirty="0">
                <a:gradFill>
                  <a:gsLst>
                    <a:gs pos="1250">
                      <a:schemeClr val="accent2"/>
                    </a:gs>
                    <a:gs pos="100000">
                      <a:schemeClr val="accent2"/>
                    </a:gs>
                  </a:gsLst>
                  <a:lin ang="5400000" scaled="0"/>
                </a:gradFill>
              </a:rPr>
              <a:t>Computer Vision</a:t>
            </a:r>
          </a:p>
          <a:p>
            <a:pPr lvl="1"/>
            <a:r>
              <a:rPr lang="en-US" dirty="0"/>
              <a:t>Description, tags, clip art, line drawing, black &amp; white, </a:t>
            </a:r>
            <a:r>
              <a:rPr lang="en-US" dirty="0" err="1"/>
              <a:t>IsAdultContent</a:t>
            </a:r>
            <a:r>
              <a:rPr lang="en-US" dirty="0"/>
              <a:t>/Score, </a:t>
            </a:r>
            <a:r>
              <a:rPr lang="en-US" dirty="0" err="1"/>
              <a:t>IsRacy</a:t>
            </a:r>
            <a:r>
              <a:rPr lang="en-US" dirty="0"/>
              <a:t>/Score, categories, faces, dominant colors, accent color</a:t>
            </a:r>
          </a:p>
          <a:p>
            <a:pPr lvl="1"/>
            <a:r>
              <a:rPr lang="en-US" dirty="0">
                <a:hlinkClick r:id="rId3"/>
              </a:rPr>
              <a:t>https://www.microsoft.com/cognitive-services/en-us/computer-vision-api</a:t>
            </a:r>
            <a:r>
              <a:rPr lang="en-US" dirty="0"/>
              <a:t>  </a:t>
            </a:r>
          </a:p>
          <a:p>
            <a:r>
              <a:rPr lang="en-US" dirty="0">
                <a:gradFill>
                  <a:gsLst>
                    <a:gs pos="1250">
                      <a:schemeClr val="accent2"/>
                    </a:gs>
                    <a:gs pos="100000">
                      <a:schemeClr val="accent2"/>
                    </a:gs>
                  </a:gsLst>
                  <a:lin ang="5400000" scaled="0"/>
                </a:gradFill>
              </a:rPr>
              <a:t>Emotions</a:t>
            </a:r>
          </a:p>
          <a:p>
            <a:pPr lvl="1"/>
            <a:r>
              <a:rPr lang="en-US" dirty="0"/>
              <a:t>Anger, contempt, disgust, fear, happiness, sadness, surprise, and neutral</a:t>
            </a:r>
          </a:p>
          <a:p>
            <a:pPr lvl="1"/>
            <a:r>
              <a:rPr lang="en-US" dirty="0">
                <a:hlinkClick r:id="rId4"/>
              </a:rPr>
              <a:t>https://www.microsoft.com/cognitive-services/en-us/emotion-api</a:t>
            </a:r>
            <a:r>
              <a:rPr lang="en-US" dirty="0"/>
              <a:t> </a:t>
            </a:r>
          </a:p>
          <a:p>
            <a:r>
              <a:rPr lang="en-US" dirty="0">
                <a:gradFill>
                  <a:gsLst>
                    <a:gs pos="1250">
                      <a:schemeClr val="accent2"/>
                    </a:gs>
                    <a:gs pos="100000">
                      <a:schemeClr val="accent2"/>
                    </a:gs>
                  </a:gsLst>
                  <a:lin ang="5400000" scaled="0"/>
                </a:gradFill>
              </a:rPr>
              <a:t>Face</a:t>
            </a:r>
          </a:p>
          <a:p>
            <a:pPr lvl="1"/>
            <a:r>
              <a:rPr lang="en-US" dirty="0"/>
              <a:t>Bounding box, 27 facial landmarks, age, gender, head pose, smile, facial hair, glasses</a:t>
            </a:r>
          </a:p>
          <a:p>
            <a:pPr lvl="1"/>
            <a:r>
              <a:rPr lang="en-US" dirty="0">
                <a:hlinkClick r:id="rId5"/>
              </a:rPr>
              <a:t>https://www.microsoft.com/cognitive-services/en-us/face-api</a:t>
            </a:r>
            <a:r>
              <a:rPr lang="en-US" dirty="0"/>
              <a:t> </a:t>
            </a:r>
          </a:p>
          <a:p>
            <a:pPr lvl="1"/>
            <a:endParaRPr lang="en-US" dirty="0"/>
          </a:p>
        </p:txBody>
      </p:sp>
    </p:spTree>
    <p:extLst>
      <p:ext uri="{BB962C8B-B14F-4D97-AF65-F5344CB8AC3E}">
        <p14:creationId xmlns:p14="http://schemas.microsoft.com/office/powerpoint/2010/main" val="422960867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Best Practices for </a:t>
            </a:r>
            <a:r>
              <a:rPr lang="en-US" dirty="0" err="1"/>
              <a:t>Devs</a:t>
            </a:r>
            <a:endParaRPr lang="en-US" dirty="0"/>
          </a:p>
        </p:txBody>
      </p:sp>
      <p:sp>
        <p:nvSpPr>
          <p:cNvPr id="6" name="Text Placeholder 5"/>
          <p:cNvSpPr>
            <a:spLocks noGrp="1"/>
          </p:cNvSpPr>
          <p:nvPr>
            <p:ph type="body" sz="quarter" idx="10"/>
          </p:nvPr>
        </p:nvSpPr>
        <p:spPr>
          <a:xfrm>
            <a:off x="274638" y="1212850"/>
            <a:ext cx="11887200" cy="5078313"/>
          </a:xfrm>
        </p:spPr>
        <p:txBody>
          <a:bodyPr/>
          <a:lstStyle/>
          <a:p>
            <a:r>
              <a:rPr lang="en-US" dirty="0">
                <a:gradFill>
                  <a:gsLst>
                    <a:gs pos="1250">
                      <a:schemeClr val="accent2"/>
                    </a:gs>
                    <a:gs pos="100000">
                      <a:schemeClr val="accent2"/>
                    </a:gs>
                  </a:gsLst>
                  <a:lin ang="5400000" scaled="0"/>
                </a:gradFill>
              </a:rPr>
              <a:t>Samples &amp; SDKs exist</a:t>
            </a:r>
          </a:p>
          <a:p>
            <a:pPr lvl="1"/>
            <a:r>
              <a:rPr lang="en-US" dirty="0"/>
              <a:t>For </a:t>
            </a:r>
            <a:r>
              <a:rPr lang="en-US" dirty="0" err="1"/>
              <a:t>ObjectiveC</a:t>
            </a:r>
            <a:r>
              <a:rPr lang="en-US" dirty="0"/>
              <a:t>/Swift/iOS, Java/Android, C#/Windows, and Python (</a:t>
            </a:r>
            <a:r>
              <a:rPr lang="en-US" dirty="0" err="1"/>
              <a:t>Jupyter</a:t>
            </a:r>
            <a:r>
              <a:rPr lang="en-US" dirty="0"/>
              <a:t> notebook)</a:t>
            </a:r>
          </a:p>
          <a:p>
            <a:pPr lvl="1"/>
            <a:r>
              <a:rPr lang="en-US" dirty="0">
                <a:hlinkClick r:id="rId3"/>
              </a:rPr>
              <a:t>https://www.microsoft.com/cognitive-services/en-us/SDK-Sample?api=computer%20vision</a:t>
            </a:r>
            <a:r>
              <a:rPr lang="en-US" dirty="0"/>
              <a:t> </a:t>
            </a:r>
          </a:p>
          <a:p>
            <a:r>
              <a:rPr lang="en-US" dirty="0">
                <a:gradFill>
                  <a:gsLst>
                    <a:gs pos="1250">
                      <a:schemeClr val="accent2"/>
                    </a:gs>
                    <a:gs pos="100000">
                      <a:schemeClr val="accent2"/>
                    </a:gs>
                  </a:gsLst>
                  <a:lin ang="5400000" scaled="0"/>
                </a:gradFill>
              </a:rPr>
              <a:t>Constraints</a:t>
            </a:r>
          </a:p>
          <a:p>
            <a:pPr lvl="1"/>
            <a:r>
              <a:rPr lang="en-US" dirty="0"/>
              <a:t>Computer Vision API describes images in English only</a:t>
            </a:r>
          </a:p>
          <a:p>
            <a:pPr lvl="1"/>
            <a:r>
              <a:rPr lang="en-US" dirty="0"/>
              <a:t>Face API detects up to 64 human faces in one image</a:t>
            </a:r>
          </a:p>
          <a:p>
            <a:pPr lvl="1"/>
            <a:r>
              <a:rPr lang="en-US" dirty="0"/>
              <a:t>Facial detection: JPEG, PNG, GIF (first frame), and BMP supported, image file size of 1KB-4MB, detectable face size 36x36-4096x4096 pixels, returned faces ordered by face </a:t>
            </a:r>
            <a:r>
              <a:rPr lang="en-US" dirty="0" err="1"/>
              <a:t>rect</a:t>
            </a:r>
            <a:r>
              <a:rPr lang="en-US" dirty="0"/>
              <a:t> size </a:t>
            </a:r>
            <a:r>
              <a:rPr lang="en-US" dirty="0" err="1"/>
              <a:t>desc</a:t>
            </a:r>
            <a:endParaRPr lang="en-US" dirty="0"/>
          </a:p>
          <a:p>
            <a:r>
              <a:rPr lang="en-US" dirty="0">
                <a:gradFill>
                  <a:gsLst>
                    <a:gs pos="1250">
                      <a:schemeClr val="accent2"/>
                    </a:gs>
                    <a:gs pos="100000">
                      <a:schemeClr val="accent2"/>
                    </a:gs>
                  </a:gsLst>
                  <a:lin ang="5400000" scaled="0"/>
                </a:gradFill>
              </a:rPr>
              <a:t>Fun random details</a:t>
            </a:r>
          </a:p>
          <a:p>
            <a:pPr lvl="1"/>
            <a:r>
              <a:rPr lang="en-US" dirty="0" err="1"/>
              <a:t>FindSimilarFace</a:t>
            </a:r>
            <a:r>
              <a:rPr lang="en-US" dirty="0"/>
              <a:t> has 2 modes: </a:t>
            </a:r>
            <a:r>
              <a:rPr lang="en-US" dirty="0" err="1"/>
              <a:t>matchPerson</a:t>
            </a:r>
            <a:r>
              <a:rPr lang="en-US" dirty="0"/>
              <a:t> (default, same person) and </a:t>
            </a:r>
            <a:r>
              <a:rPr lang="en-US" dirty="0" err="1"/>
              <a:t>matchFace</a:t>
            </a:r>
            <a:r>
              <a:rPr lang="en-US" dirty="0"/>
              <a:t> (similar faces)</a:t>
            </a:r>
          </a:p>
          <a:p>
            <a:pPr lvl="1"/>
            <a:r>
              <a:rPr lang="en-US" dirty="0" err="1"/>
              <a:t>FaceGroup</a:t>
            </a:r>
            <a:r>
              <a:rPr lang="en-US" dirty="0"/>
              <a:t> API takes between 2-1000 candidate faces</a:t>
            </a:r>
          </a:p>
          <a:p>
            <a:pPr lvl="1"/>
            <a:r>
              <a:rPr lang="en-US" dirty="0"/>
              <a:t>Documentation: </a:t>
            </a:r>
            <a:r>
              <a:rPr lang="en-US" dirty="0">
                <a:hlinkClick r:id="rId4"/>
              </a:rPr>
              <a:t>https://www.microsoft.com/cognitive-services/en-us/documentation</a:t>
            </a:r>
            <a:r>
              <a:rPr lang="en-US" dirty="0"/>
              <a:t> </a:t>
            </a:r>
          </a:p>
        </p:txBody>
      </p:sp>
    </p:spTree>
    <p:extLst>
      <p:ext uri="{BB962C8B-B14F-4D97-AF65-F5344CB8AC3E}">
        <p14:creationId xmlns:p14="http://schemas.microsoft.com/office/powerpoint/2010/main" val="2784916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7" y="1211276"/>
            <a:ext cx="7315199" cy="1828786"/>
          </a:xfrm>
        </p:spPr>
        <p:txBody>
          <a:bodyPr/>
          <a:lstStyle/>
          <a:p>
            <a:r>
              <a:rPr lang="en-US" dirty="0"/>
              <a:t>Demo</a:t>
            </a:r>
          </a:p>
        </p:txBody>
      </p:sp>
      <p:sp>
        <p:nvSpPr>
          <p:cNvPr id="4" name="Text Placeholder 3"/>
          <p:cNvSpPr>
            <a:spLocks noGrp="1"/>
          </p:cNvSpPr>
          <p:nvPr>
            <p:ph type="body" sz="quarter" idx="12"/>
          </p:nvPr>
        </p:nvSpPr>
        <p:spPr>
          <a:xfrm>
            <a:off x="274638" y="2659062"/>
            <a:ext cx="8000999" cy="4284250"/>
          </a:xfrm>
        </p:spPr>
        <p:txBody>
          <a:bodyPr/>
          <a:lstStyle/>
          <a:p>
            <a:r>
              <a:rPr lang="en-US" dirty="0"/>
              <a:t>Website JSON: </a:t>
            </a:r>
            <a:r>
              <a:rPr lang="en-US" dirty="0">
                <a:hlinkClick r:id="rId3"/>
              </a:rPr>
              <a:t>http://microsoft.com/cognitive</a:t>
            </a:r>
            <a:endParaRPr lang="en-US" dirty="0"/>
          </a:p>
          <a:p>
            <a:endParaRPr lang="en-US" dirty="0"/>
          </a:p>
          <a:p>
            <a:r>
              <a:rPr lang="en-US" dirty="0"/>
              <a:t>Deal With It Bot – Face API: </a:t>
            </a:r>
            <a:r>
              <a:rPr lang="en-US" dirty="0">
                <a:hlinkClick r:id="rId4"/>
              </a:rPr>
              <a:t>http://aifunclub.azurewebsites.net</a:t>
            </a:r>
            <a:r>
              <a:rPr lang="en-US" dirty="0"/>
              <a:t> </a:t>
            </a:r>
          </a:p>
          <a:p>
            <a:endParaRPr lang="en-US" dirty="0"/>
          </a:p>
          <a:p>
            <a:r>
              <a:rPr lang="en-US" dirty="0"/>
              <a:t>Intelligent Kiosk – Face and Emotion API:</a:t>
            </a:r>
          </a:p>
          <a:p>
            <a:r>
              <a:rPr lang="en-US" dirty="0">
                <a:hlinkClick r:id="rId5"/>
              </a:rPr>
              <a:t>https://github.com/Microsoft/Cognitive-Samples-IntelligentKiosk</a:t>
            </a:r>
            <a:r>
              <a:rPr lang="en-US" dirty="0"/>
              <a:t> </a:t>
            </a:r>
          </a:p>
        </p:txBody>
      </p:sp>
    </p:spTree>
    <p:extLst>
      <p:ext uri="{BB962C8B-B14F-4D97-AF65-F5344CB8AC3E}">
        <p14:creationId xmlns:p14="http://schemas.microsoft.com/office/powerpoint/2010/main" val="3091201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eech</a:t>
            </a:r>
          </a:p>
        </p:txBody>
      </p:sp>
    </p:spTree>
    <p:extLst>
      <p:ext uri="{BB962C8B-B14F-4D97-AF65-F5344CB8AC3E}">
        <p14:creationId xmlns:p14="http://schemas.microsoft.com/office/powerpoint/2010/main" val="163936052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7" name="Group 6"/>
          <p:cNvGrpSpPr/>
          <p:nvPr/>
        </p:nvGrpSpPr>
        <p:grpSpPr>
          <a:xfrm>
            <a:off x="614843" y="374541"/>
            <a:ext cx="3241194" cy="769441"/>
            <a:chOff x="614843" y="374541"/>
            <a:chExt cx="3241194" cy="769441"/>
          </a:xfrm>
        </p:grpSpPr>
        <p:sp>
          <p:nvSpPr>
            <p:cNvPr id="59" name="Rectangle 58"/>
            <p:cNvSpPr/>
            <p:nvPr/>
          </p:nvSpPr>
          <p:spPr>
            <a:xfrm>
              <a:off x="1352882" y="374541"/>
              <a:ext cx="2503155" cy="769441"/>
            </a:xfrm>
            <a:prstGeom prst="rect">
              <a:avLst/>
            </a:prstGeom>
          </p:spPr>
          <p:txBody>
            <a:bodyPr wrap="square" anchor="ctr">
              <a:spAutoFit/>
            </a:bodyPr>
            <a:lstStyle/>
            <a:p>
              <a:pPr marL="182845" marR="0" lvl="0" indent="0" algn="l" defTabSz="931741" rtl="0" eaLnBrk="1" fontAlgn="base" latinLnBrk="0" hangingPunct="1">
                <a:lnSpc>
                  <a:spcPct val="100000"/>
                </a:lnSpc>
                <a:spcBef>
                  <a:spcPts val="1199"/>
                </a:spcBef>
                <a:spcAft>
                  <a:spcPts val="1199"/>
                </a:spcAft>
                <a:buClrTx/>
                <a:buSzTx/>
                <a:buFontTx/>
                <a:buNone/>
                <a:tabLst/>
                <a:defRPr/>
              </a:pPr>
              <a:r>
                <a:rPr kumimoji="0" lang="en-US" sz="44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rPr>
                <a:t>Vision</a:t>
              </a:r>
            </a:p>
          </p:txBody>
        </p:sp>
        <p:sp>
          <p:nvSpPr>
            <p:cNvPr id="61" name="Freeform 22"/>
            <p:cNvSpPr>
              <a:spLocks noChangeAspect="1"/>
            </p:cNvSpPr>
            <p:nvPr/>
          </p:nvSpPr>
          <p:spPr bwMode="auto">
            <a:xfrm>
              <a:off x="614843" y="536091"/>
              <a:ext cx="674510" cy="446340"/>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 name="Group 2"/>
          <p:cNvGrpSpPr/>
          <p:nvPr/>
        </p:nvGrpSpPr>
        <p:grpSpPr>
          <a:xfrm>
            <a:off x="427038" y="225861"/>
            <a:ext cx="3421138" cy="1066799"/>
            <a:chOff x="1013503" y="1562943"/>
            <a:chExt cx="3421138" cy="1066799"/>
          </a:xfrm>
        </p:grpSpPr>
        <p:grpSp>
          <p:nvGrpSpPr>
            <p:cNvPr id="4" name="Group 3"/>
            <p:cNvGrpSpPr/>
            <p:nvPr/>
          </p:nvGrpSpPr>
          <p:grpSpPr>
            <a:xfrm>
              <a:off x="1013503" y="1562943"/>
              <a:ext cx="3421138" cy="1066799"/>
              <a:chOff x="434899" y="234018"/>
              <a:chExt cx="3421138" cy="1066799"/>
            </a:xfrm>
          </p:grpSpPr>
          <p:sp>
            <p:nvSpPr>
              <p:cNvPr id="55" name="Rectangle 54"/>
              <p:cNvSpPr/>
              <p:nvPr/>
            </p:nvSpPr>
            <p:spPr>
              <a:xfrm>
                <a:off x="1352882" y="372821"/>
                <a:ext cx="2503155" cy="769441"/>
              </a:xfrm>
              <a:prstGeom prst="rect">
                <a:avLst/>
              </a:prstGeom>
              <a:solidFill>
                <a:srgbClr val="00B294"/>
              </a:solidFill>
            </p:spPr>
            <p:txBody>
              <a:bodyPr wrap="square" anchor="ctr">
                <a:spAutoFit/>
              </a:bodyPr>
              <a:lstStyle/>
              <a:p>
                <a:pPr marL="182845" marR="0" lvl="0" indent="0" algn="l" defTabSz="931741" rtl="0" eaLnBrk="1" fontAlgn="base" latinLnBrk="0" hangingPunct="1">
                  <a:lnSpc>
                    <a:spcPct val="100000"/>
                  </a:lnSpc>
                  <a:spcBef>
                    <a:spcPts val="1199"/>
                  </a:spcBef>
                  <a:spcAft>
                    <a:spcPts val="1199"/>
                  </a:spcAft>
                  <a:buClrTx/>
                  <a:buSzTx/>
                  <a:buFontTx/>
                  <a:buNone/>
                  <a:tabLst/>
                  <a:defRPr/>
                </a:pPr>
                <a:r>
                  <a:rPr kumimoji="0" lang="en-US" sz="44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rPr>
                  <a:t>Speech</a:t>
                </a:r>
              </a:p>
            </p:txBody>
          </p:sp>
          <p:sp>
            <p:nvSpPr>
              <p:cNvPr id="2" name="Rectangle 1"/>
              <p:cNvSpPr/>
              <p:nvPr/>
            </p:nvSpPr>
            <p:spPr>
              <a:xfrm>
                <a:off x="434899" y="234018"/>
                <a:ext cx="1066799" cy="10667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60" name="Freeform 18"/>
            <p:cNvSpPr>
              <a:spLocks noChangeAspect="1"/>
            </p:cNvSpPr>
            <p:nvPr/>
          </p:nvSpPr>
          <p:spPr bwMode="auto">
            <a:xfrm>
              <a:off x="1174755" y="1820147"/>
              <a:ext cx="744295" cy="651997"/>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04" name="Group 103"/>
          <p:cNvGrpSpPr/>
          <p:nvPr/>
        </p:nvGrpSpPr>
        <p:grpSpPr>
          <a:xfrm>
            <a:off x="1592899" y="2704730"/>
            <a:ext cx="1600200" cy="1600200"/>
            <a:chOff x="1167239" y="2704730"/>
            <a:chExt cx="1600200" cy="1600200"/>
          </a:xfrm>
        </p:grpSpPr>
        <p:sp>
          <p:nvSpPr>
            <p:cNvPr id="33" name="Rectangle 32"/>
            <p:cNvSpPr/>
            <p:nvPr/>
          </p:nvSpPr>
          <p:spPr>
            <a:xfrm>
              <a:off x="1167239"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7" name="Group 16"/>
            <p:cNvGrpSpPr/>
            <p:nvPr/>
          </p:nvGrpSpPr>
          <p:grpSpPr>
            <a:xfrm>
              <a:off x="1395527" y="3071481"/>
              <a:ext cx="1143624" cy="866698"/>
              <a:chOff x="1395527" y="3071481"/>
              <a:chExt cx="1143624" cy="866698"/>
            </a:xfrm>
          </p:grpSpPr>
          <p:grpSp>
            <p:nvGrpSpPr>
              <p:cNvPr id="8" name="Group 7"/>
              <p:cNvGrpSpPr/>
              <p:nvPr/>
            </p:nvGrpSpPr>
            <p:grpSpPr>
              <a:xfrm>
                <a:off x="1395527" y="3071481"/>
                <a:ext cx="1143624" cy="866698"/>
                <a:chOff x="1395525" y="3097901"/>
                <a:chExt cx="1143624" cy="866698"/>
              </a:xfrm>
            </p:grpSpPr>
            <p:sp>
              <p:nvSpPr>
                <p:cNvPr id="74" name="Freeform 31"/>
                <p:cNvSpPr>
                  <a:spLocks noEditPoints="1"/>
                </p:cNvSpPr>
                <p:nvPr/>
              </p:nvSpPr>
              <p:spPr bwMode="auto">
                <a:xfrm>
                  <a:off x="1395525" y="3097901"/>
                  <a:ext cx="1143624" cy="866698"/>
                </a:xfrm>
                <a:custGeom>
                  <a:avLst/>
                  <a:gdLst>
                    <a:gd name="T0" fmla="*/ 70 w 320"/>
                    <a:gd name="T1" fmla="*/ 240 h 240"/>
                    <a:gd name="T2" fmla="*/ 92 w 320"/>
                    <a:gd name="T3" fmla="*/ 210 h 240"/>
                    <a:gd name="T4" fmla="*/ 87 w 320"/>
                    <a:gd name="T5" fmla="*/ 198 h 240"/>
                    <a:gd name="T6" fmla="*/ 73 w 320"/>
                    <a:gd name="T7" fmla="*/ 197 h 240"/>
                    <a:gd name="T8" fmla="*/ 1 w 320"/>
                    <a:gd name="T9" fmla="*/ 121 h 240"/>
                    <a:gd name="T10" fmla="*/ 4 w 320"/>
                    <a:gd name="T11" fmla="*/ 66 h 240"/>
                    <a:gd name="T12" fmla="*/ 63 w 320"/>
                    <a:gd name="T13" fmla="*/ 10 h 240"/>
                    <a:gd name="T14" fmla="*/ 257 w 320"/>
                    <a:gd name="T15" fmla="*/ 10 h 240"/>
                    <a:gd name="T16" fmla="*/ 317 w 320"/>
                    <a:gd name="T17" fmla="*/ 75 h 240"/>
                    <a:gd name="T18" fmla="*/ 314 w 320"/>
                    <a:gd name="T19" fmla="*/ 143 h 240"/>
                    <a:gd name="T20" fmla="*/ 249 w 320"/>
                    <a:gd name="T21" fmla="*/ 196 h 240"/>
                    <a:gd name="T22" fmla="*/ 188 w 320"/>
                    <a:gd name="T23" fmla="*/ 201 h 240"/>
                    <a:gd name="T24" fmla="*/ 152 w 320"/>
                    <a:gd name="T25" fmla="*/ 214 h 240"/>
                    <a:gd name="T26" fmla="*/ 70 w 320"/>
                    <a:gd name="T27" fmla="*/ 240 h 240"/>
                    <a:gd name="T28" fmla="*/ 152 w 320"/>
                    <a:gd name="T29" fmla="*/ 165 h 240"/>
                    <a:gd name="T30" fmla="*/ 231 w 320"/>
                    <a:gd name="T31" fmla="*/ 160 h 240"/>
                    <a:gd name="T32" fmla="*/ 268 w 320"/>
                    <a:gd name="T33" fmla="*/ 121 h 240"/>
                    <a:gd name="T34" fmla="*/ 268 w 320"/>
                    <a:gd name="T35" fmla="*/ 83 h 240"/>
                    <a:gd name="T36" fmla="*/ 227 w 320"/>
                    <a:gd name="T37" fmla="*/ 41 h 240"/>
                    <a:gd name="T38" fmla="*/ 90 w 320"/>
                    <a:gd name="T39" fmla="*/ 41 h 240"/>
                    <a:gd name="T40" fmla="*/ 48 w 320"/>
                    <a:gd name="T41" fmla="*/ 85 h 240"/>
                    <a:gd name="T42" fmla="*/ 48 w 320"/>
                    <a:gd name="T43" fmla="*/ 120 h 240"/>
                    <a:gd name="T44" fmla="*/ 88 w 320"/>
                    <a:gd name="T45" fmla="*/ 161 h 240"/>
                    <a:gd name="T46" fmla="*/ 152 w 320"/>
                    <a:gd name="T47" fmla="*/ 16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40">
                      <a:moveTo>
                        <a:pt x="70" y="240"/>
                      </a:moveTo>
                      <a:cubicBezTo>
                        <a:pt x="78" y="229"/>
                        <a:pt x="85" y="220"/>
                        <a:pt x="92" y="210"/>
                      </a:cubicBezTo>
                      <a:cubicBezTo>
                        <a:pt x="97" y="203"/>
                        <a:pt x="97" y="198"/>
                        <a:pt x="87" y="198"/>
                      </a:cubicBezTo>
                      <a:cubicBezTo>
                        <a:pt x="82" y="198"/>
                        <a:pt x="77" y="197"/>
                        <a:pt x="73" y="197"/>
                      </a:cubicBezTo>
                      <a:cubicBezTo>
                        <a:pt x="28" y="191"/>
                        <a:pt x="4" y="166"/>
                        <a:pt x="1" y="121"/>
                      </a:cubicBezTo>
                      <a:cubicBezTo>
                        <a:pt x="0" y="103"/>
                        <a:pt x="0" y="85"/>
                        <a:pt x="4" y="66"/>
                      </a:cubicBezTo>
                      <a:cubicBezTo>
                        <a:pt x="11" y="36"/>
                        <a:pt x="32" y="15"/>
                        <a:pt x="63" y="10"/>
                      </a:cubicBezTo>
                      <a:cubicBezTo>
                        <a:pt x="127" y="0"/>
                        <a:pt x="192" y="0"/>
                        <a:pt x="257" y="10"/>
                      </a:cubicBezTo>
                      <a:cubicBezTo>
                        <a:pt x="291" y="16"/>
                        <a:pt x="310" y="37"/>
                        <a:pt x="317" y="75"/>
                      </a:cubicBezTo>
                      <a:cubicBezTo>
                        <a:pt x="320" y="98"/>
                        <a:pt x="319" y="121"/>
                        <a:pt x="314" y="143"/>
                      </a:cubicBezTo>
                      <a:cubicBezTo>
                        <a:pt x="307" y="173"/>
                        <a:pt x="283" y="192"/>
                        <a:pt x="249" y="196"/>
                      </a:cubicBezTo>
                      <a:cubicBezTo>
                        <a:pt x="229" y="198"/>
                        <a:pt x="209" y="200"/>
                        <a:pt x="188" y="201"/>
                      </a:cubicBezTo>
                      <a:cubicBezTo>
                        <a:pt x="175" y="202"/>
                        <a:pt x="163" y="206"/>
                        <a:pt x="152" y="214"/>
                      </a:cubicBezTo>
                      <a:cubicBezTo>
                        <a:pt x="128" y="231"/>
                        <a:pt x="100" y="236"/>
                        <a:pt x="70" y="240"/>
                      </a:cubicBezTo>
                      <a:close/>
                      <a:moveTo>
                        <a:pt x="152" y="165"/>
                      </a:moveTo>
                      <a:cubicBezTo>
                        <a:pt x="186" y="166"/>
                        <a:pt x="209" y="166"/>
                        <a:pt x="231" y="160"/>
                      </a:cubicBezTo>
                      <a:cubicBezTo>
                        <a:pt x="252" y="155"/>
                        <a:pt x="265" y="142"/>
                        <a:pt x="268" y="121"/>
                      </a:cubicBezTo>
                      <a:cubicBezTo>
                        <a:pt x="270" y="109"/>
                        <a:pt x="270" y="96"/>
                        <a:pt x="268" y="83"/>
                      </a:cubicBezTo>
                      <a:cubicBezTo>
                        <a:pt x="265" y="60"/>
                        <a:pt x="250" y="45"/>
                        <a:pt x="227" y="41"/>
                      </a:cubicBezTo>
                      <a:cubicBezTo>
                        <a:pt x="181" y="35"/>
                        <a:pt x="136" y="34"/>
                        <a:pt x="90" y="41"/>
                      </a:cubicBezTo>
                      <a:cubicBezTo>
                        <a:pt x="65" y="45"/>
                        <a:pt x="51" y="60"/>
                        <a:pt x="48" y="85"/>
                      </a:cubicBezTo>
                      <a:cubicBezTo>
                        <a:pt x="46" y="97"/>
                        <a:pt x="46" y="108"/>
                        <a:pt x="48" y="120"/>
                      </a:cubicBezTo>
                      <a:cubicBezTo>
                        <a:pt x="52" y="143"/>
                        <a:pt x="65" y="156"/>
                        <a:pt x="88" y="161"/>
                      </a:cubicBezTo>
                      <a:cubicBezTo>
                        <a:pt x="113" y="165"/>
                        <a:pt x="138" y="165"/>
                        <a:pt x="152" y="165"/>
                      </a:cubicBezTo>
                      <a:close/>
                    </a:path>
                  </a:pathLst>
                </a:custGeom>
                <a:solidFill>
                  <a:srgbClr val="FB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Freeform 32"/>
                <p:cNvSpPr>
                  <a:spLocks/>
                </p:cNvSpPr>
                <p:nvPr/>
              </p:nvSpPr>
              <p:spPr bwMode="auto">
                <a:xfrm>
                  <a:off x="1559632" y="3220982"/>
                  <a:ext cx="800024" cy="476941"/>
                </a:xfrm>
                <a:custGeom>
                  <a:avLst/>
                  <a:gdLst>
                    <a:gd name="T0" fmla="*/ 106 w 224"/>
                    <a:gd name="T1" fmla="*/ 131 h 132"/>
                    <a:gd name="T2" fmla="*/ 42 w 224"/>
                    <a:gd name="T3" fmla="*/ 127 h 132"/>
                    <a:gd name="T4" fmla="*/ 2 w 224"/>
                    <a:gd name="T5" fmla="*/ 86 h 132"/>
                    <a:gd name="T6" fmla="*/ 2 w 224"/>
                    <a:gd name="T7" fmla="*/ 51 h 132"/>
                    <a:gd name="T8" fmla="*/ 44 w 224"/>
                    <a:gd name="T9" fmla="*/ 7 h 132"/>
                    <a:gd name="T10" fmla="*/ 181 w 224"/>
                    <a:gd name="T11" fmla="*/ 7 h 132"/>
                    <a:gd name="T12" fmla="*/ 222 w 224"/>
                    <a:gd name="T13" fmla="*/ 49 h 132"/>
                    <a:gd name="T14" fmla="*/ 222 w 224"/>
                    <a:gd name="T15" fmla="*/ 87 h 132"/>
                    <a:gd name="T16" fmla="*/ 185 w 224"/>
                    <a:gd name="T17" fmla="*/ 126 h 132"/>
                    <a:gd name="T18" fmla="*/ 106 w 224"/>
                    <a:gd name="T19" fmla="*/ 13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132">
                      <a:moveTo>
                        <a:pt x="106" y="131"/>
                      </a:moveTo>
                      <a:cubicBezTo>
                        <a:pt x="92" y="131"/>
                        <a:pt x="67" y="131"/>
                        <a:pt x="42" y="127"/>
                      </a:cubicBezTo>
                      <a:cubicBezTo>
                        <a:pt x="19" y="122"/>
                        <a:pt x="6" y="109"/>
                        <a:pt x="2" y="86"/>
                      </a:cubicBezTo>
                      <a:cubicBezTo>
                        <a:pt x="0" y="74"/>
                        <a:pt x="0" y="63"/>
                        <a:pt x="2" y="51"/>
                      </a:cubicBezTo>
                      <a:cubicBezTo>
                        <a:pt x="5" y="26"/>
                        <a:pt x="19" y="11"/>
                        <a:pt x="44" y="7"/>
                      </a:cubicBezTo>
                      <a:cubicBezTo>
                        <a:pt x="90" y="0"/>
                        <a:pt x="135" y="1"/>
                        <a:pt x="181" y="7"/>
                      </a:cubicBezTo>
                      <a:cubicBezTo>
                        <a:pt x="204" y="11"/>
                        <a:pt x="219" y="26"/>
                        <a:pt x="222" y="49"/>
                      </a:cubicBezTo>
                      <a:cubicBezTo>
                        <a:pt x="224" y="62"/>
                        <a:pt x="224" y="75"/>
                        <a:pt x="222" y="87"/>
                      </a:cubicBezTo>
                      <a:cubicBezTo>
                        <a:pt x="219" y="108"/>
                        <a:pt x="206" y="121"/>
                        <a:pt x="185" y="126"/>
                      </a:cubicBezTo>
                      <a:cubicBezTo>
                        <a:pt x="163" y="132"/>
                        <a:pt x="140" y="132"/>
                        <a:pt x="106" y="131"/>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3" name="Group 12"/>
              <p:cNvGrpSpPr/>
              <p:nvPr/>
            </p:nvGrpSpPr>
            <p:grpSpPr>
              <a:xfrm>
                <a:off x="1720833" y="3394139"/>
                <a:ext cx="493012" cy="103123"/>
                <a:chOff x="1686625" y="3385251"/>
                <a:chExt cx="535508" cy="112012"/>
              </a:xfrm>
            </p:grpSpPr>
            <p:sp>
              <p:nvSpPr>
                <p:cNvPr id="12" name="Oval 11"/>
                <p:cNvSpPr/>
                <p:nvPr/>
              </p:nvSpPr>
              <p:spPr>
                <a:xfrm>
                  <a:off x="1686625" y="3385251"/>
                  <a:ext cx="112012" cy="1120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3" name="Oval 82"/>
                <p:cNvSpPr/>
                <p:nvPr/>
              </p:nvSpPr>
              <p:spPr>
                <a:xfrm>
                  <a:off x="1898373" y="3385251"/>
                  <a:ext cx="112012" cy="1120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4" name="Oval 83"/>
                <p:cNvSpPr/>
                <p:nvPr/>
              </p:nvSpPr>
              <p:spPr>
                <a:xfrm>
                  <a:off x="2110121" y="3385251"/>
                  <a:ext cx="112012" cy="1120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grpSp>
        <p:nvGrpSpPr>
          <p:cNvPr id="105" name="Group 104"/>
          <p:cNvGrpSpPr/>
          <p:nvPr/>
        </p:nvGrpSpPr>
        <p:grpSpPr>
          <a:xfrm>
            <a:off x="5418139" y="2704730"/>
            <a:ext cx="1600200" cy="1600200"/>
            <a:chOff x="5412867" y="2704730"/>
            <a:chExt cx="1600200" cy="1600200"/>
          </a:xfrm>
        </p:grpSpPr>
        <p:sp>
          <p:nvSpPr>
            <p:cNvPr id="49" name="Rectangle 48"/>
            <p:cNvSpPr/>
            <p:nvPr/>
          </p:nvSpPr>
          <p:spPr>
            <a:xfrm>
              <a:off x="5412867"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21" name="Group 20"/>
            <p:cNvGrpSpPr/>
            <p:nvPr/>
          </p:nvGrpSpPr>
          <p:grpSpPr>
            <a:xfrm>
              <a:off x="5641155" y="3071481"/>
              <a:ext cx="1143624" cy="866698"/>
              <a:chOff x="5641155" y="3071481"/>
              <a:chExt cx="1143624" cy="866698"/>
            </a:xfrm>
          </p:grpSpPr>
          <p:grpSp>
            <p:nvGrpSpPr>
              <p:cNvPr id="76" name="Group 75"/>
              <p:cNvGrpSpPr/>
              <p:nvPr/>
            </p:nvGrpSpPr>
            <p:grpSpPr>
              <a:xfrm>
                <a:off x="5641155" y="3071481"/>
                <a:ext cx="1143624" cy="866698"/>
                <a:chOff x="1395525" y="3097901"/>
                <a:chExt cx="1143624" cy="866698"/>
              </a:xfrm>
            </p:grpSpPr>
            <p:sp>
              <p:nvSpPr>
                <p:cNvPr id="77" name="Freeform 31"/>
                <p:cNvSpPr>
                  <a:spLocks noEditPoints="1"/>
                </p:cNvSpPr>
                <p:nvPr/>
              </p:nvSpPr>
              <p:spPr bwMode="auto">
                <a:xfrm>
                  <a:off x="1395525" y="3097901"/>
                  <a:ext cx="1143624" cy="866698"/>
                </a:xfrm>
                <a:custGeom>
                  <a:avLst/>
                  <a:gdLst>
                    <a:gd name="T0" fmla="*/ 70 w 320"/>
                    <a:gd name="T1" fmla="*/ 240 h 240"/>
                    <a:gd name="T2" fmla="*/ 92 w 320"/>
                    <a:gd name="T3" fmla="*/ 210 h 240"/>
                    <a:gd name="T4" fmla="*/ 87 w 320"/>
                    <a:gd name="T5" fmla="*/ 198 h 240"/>
                    <a:gd name="T6" fmla="*/ 73 w 320"/>
                    <a:gd name="T7" fmla="*/ 197 h 240"/>
                    <a:gd name="T8" fmla="*/ 1 w 320"/>
                    <a:gd name="T9" fmla="*/ 121 h 240"/>
                    <a:gd name="T10" fmla="*/ 4 w 320"/>
                    <a:gd name="T11" fmla="*/ 66 h 240"/>
                    <a:gd name="T12" fmla="*/ 63 w 320"/>
                    <a:gd name="T13" fmla="*/ 10 h 240"/>
                    <a:gd name="T14" fmla="*/ 257 w 320"/>
                    <a:gd name="T15" fmla="*/ 10 h 240"/>
                    <a:gd name="T16" fmla="*/ 317 w 320"/>
                    <a:gd name="T17" fmla="*/ 75 h 240"/>
                    <a:gd name="T18" fmla="*/ 314 w 320"/>
                    <a:gd name="T19" fmla="*/ 143 h 240"/>
                    <a:gd name="T20" fmla="*/ 249 w 320"/>
                    <a:gd name="T21" fmla="*/ 196 h 240"/>
                    <a:gd name="T22" fmla="*/ 188 w 320"/>
                    <a:gd name="T23" fmla="*/ 201 h 240"/>
                    <a:gd name="T24" fmla="*/ 152 w 320"/>
                    <a:gd name="T25" fmla="*/ 214 h 240"/>
                    <a:gd name="T26" fmla="*/ 70 w 320"/>
                    <a:gd name="T27" fmla="*/ 240 h 240"/>
                    <a:gd name="T28" fmla="*/ 152 w 320"/>
                    <a:gd name="T29" fmla="*/ 165 h 240"/>
                    <a:gd name="T30" fmla="*/ 231 w 320"/>
                    <a:gd name="T31" fmla="*/ 160 h 240"/>
                    <a:gd name="T32" fmla="*/ 268 w 320"/>
                    <a:gd name="T33" fmla="*/ 121 h 240"/>
                    <a:gd name="T34" fmla="*/ 268 w 320"/>
                    <a:gd name="T35" fmla="*/ 83 h 240"/>
                    <a:gd name="T36" fmla="*/ 227 w 320"/>
                    <a:gd name="T37" fmla="*/ 41 h 240"/>
                    <a:gd name="T38" fmla="*/ 90 w 320"/>
                    <a:gd name="T39" fmla="*/ 41 h 240"/>
                    <a:gd name="T40" fmla="*/ 48 w 320"/>
                    <a:gd name="T41" fmla="*/ 85 h 240"/>
                    <a:gd name="T42" fmla="*/ 48 w 320"/>
                    <a:gd name="T43" fmla="*/ 120 h 240"/>
                    <a:gd name="T44" fmla="*/ 88 w 320"/>
                    <a:gd name="T45" fmla="*/ 161 h 240"/>
                    <a:gd name="T46" fmla="*/ 152 w 320"/>
                    <a:gd name="T47" fmla="*/ 16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40">
                      <a:moveTo>
                        <a:pt x="70" y="240"/>
                      </a:moveTo>
                      <a:cubicBezTo>
                        <a:pt x="78" y="229"/>
                        <a:pt x="85" y="220"/>
                        <a:pt x="92" y="210"/>
                      </a:cubicBezTo>
                      <a:cubicBezTo>
                        <a:pt x="97" y="203"/>
                        <a:pt x="97" y="198"/>
                        <a:pt x="87" y="198"/>
                      </a:cubicBezTo>
                      <a:cubicBezTo>
                        <a:pt x="82" y="198"/>
                        <a:pt x="77" y="197"/>
                        <a:pt x="73" y="197"/>
                      </a:cubicBezTo>
                      <a:cubicBezTo>
                        <a:pt x="28" y="191"/>
                        <a:pt x="4" y="166"/>
                        <a:pt x="1" y="121"/>
                      </a:cubicBezTo>
                      <a:cubicBezTo>
                        <a:pt x="0" y="103"/>
                        <a:pt x="0" y="85"/>
                        <a:pt x="4" y="66"/>
                      </a:cubicBezTo>
                      <a:cubicBezTo>
                        <a:pt x="11" y="36"/>
                        <a:pt x="32" y="15"/>
                        <a:pt x="63" y="10"/>
                      </a:cubicBezTo>
                      <a:cubicBezTo>
                        <a:pt x="127" y="0"/>
                        <a:pt x="192" y="0"/>
                        <a:pt x="257" y="10"/>
                      </a:cubicBezTo>
                      <a:cubicBezTo>
                        <a:pt x="291" y="16"/>
                        <a:pt x="310" y="37"/>
                        <a:pt x="317" y="75"/>
                      </a:cubicBezTo>
                      <a:cubicBezTo>
                        <a:pt x="320" y="98"/>
                        <a:pt x="319" y="121"/>
                        <a:pt x="314" y="143"/>
                      </a:cubicBezTo>
                      <a:cubicBezTo>
                        <a:pt x="307" y="173"/>
                        <a:pt x="283" y="192"/>
                        <a:pt x="249" y="196"/>
                      </a:cubicBezTo>
                      <a:cubicBezTo>
                        <a:pt x="229" y="198"/>
                        <a:pt x="209" y="200"/>
                        <a:pt x="188" y="201"/>
                      </a:cubicBezTo>
                      <a:cubicBezTo>
                        <a:pt x="175" y="202"/>
                        <a:pt x="163" y="206"/>
                        <a:pt x="152" y="214"/>
                      </a:cubicBezTo>
                      <a:cubicBezTo>
                        <a:pt x="128" y="231"/>
                        <a:pt x="100" y="236"/>
                        <a:pt x="70" y="240"/>
                      </a:cubicBezTo>
                      <a:close/>
                      <a:moveTo>
                        <a:pt x="152" y="165"/>
                      </a:moveTo>
                      <a:cubicBezTo>
                        <a:pt x="186" y="166"/>
                        <a:pt x="209" y="166"/>
                        <a:pt x="231" y="160"/>
                      </a:cubicBezTo>
                      <a:cubicBezTo>
                        <a:pt x="252" y="155"/>
                        <a:pt x="265" y="142"/>
                        <a:pt x="268" y="121"/>
                      </a:cubicBezTo>
                      <a:cubicBezTo>
                        <a:pt x="270" y="109"/>
                        <a:pt x="270" y="96"/>
                        <a:pt x="268" y="83"/>
                      </a:cubicBezTo>
                      <a:cubicBezTo>
                        <a:pt x="265" y="60"/>
                        <a:pt x="250" y="45"/>
                        <a:pt x="227" y="41"/>
                      </a:cubicBezTo>
                      <a:cubicBezTo>
                        <a:pt x="181" y="35"/>
                        <a:pt x="136" y="34"/>
                        <a:pt x="90" y="41"/>
                      </a:cubicBezTo>
                      <a:cubicBezTo>
                        <a:pt x="65" y="45"/>
                        <a:pt x="51" y="60"/>
                        <a:pt x="48" y="85"/>
                      </a:cubicBezTo>
                      <a:cubicBezTo>
                        <a:pt x="46" y="97"/>
                        <a:pt x="46" y="108"/>
                        <a:pt x="48" y="120"/>
                      </a:cubicBezTo>
                      <a:cubicBezTo>
                        <a:pt x="52" y="143"/>
                        <a:pt x="65" y="156"/>
                        <a:pt x="88" y="161"/>
                      </a:cubicBezTo>
                      <a:cubicBezTo>
                        <a:pt x="113" y="165"/>
                        <a:pt x="138" y="165"/>
                        <a:pt x="152" y="165"/>
                      </a:cubicBezTo>
                      <a:close/>
                    </a:path>
                  </a:pathLst>
                </a:custGeom>
                <a:solidFill>
                  <a:srgbClr val="FB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8" name="Freeform 32"/>
                <p:cNvSpPr>
                  <a:spLocks/>
                </p:cNvSpPr>
                <p:nvPr/>
              </p:nvSpPr>
              <p:spPr bwMode="auto">
                <a:xfrm>
                  <a:off x="1559632" y="3220982"/>
                  <a:ext cx="800024" cy="476941"/>
                </a:xfrm>
                <a:custGeom>
                  <a:avLst/>
                  <a:gdLst>
                    <a:gd name="T0" fmla="*/ 106 w 224"/>
                    <a:gd name="T1" fmla="*/ 131 h 132"/>
                    <a:gd name="T2" fmla="*/ 42 w 224"/>
                    <a:gd name="T3" fmla="*/ 127 h 132"/>
                    <a:gd name="T4" fmla="*/ 2 w 224"/>
                    <a:gd name="T5" fmla="*/ 86 h 132"/>
                    <a:gd name="T6" fmla="*/ 2 w 224"/>
                    <a:gd name="T7" fmla="*/ 51 h 132"/>
                    <a:gd name="T8" fmla="*/ 44 w 224"/>
                    <a:gd name="T9" fmla="*/ 7 h 132"/>
                    <a:gd name="T10" fmla="*/ 181 w 224"/>
                    <a:gd name="T11" fmla="*/ 7 h 132"/>
                    <a:gd name="T12" fmla="*/ 222 w 224"/>
                    <a:gd name="T13" fmla="*/ 49 h 132"/>
                    <a:gd name="T14" fmla="*/ 222 w 224"/>
                    <a:gd name="T15" fmla="*/ 87 h 132"/>
                    <a:gd name="T16" fmla="*/ 185 w 224"/>
                    <a:gd name="T17" fmla="*/ 126 h 132"/>
                    <a:gd name="T18" fmla="*/ 106 w 224"/>
                    <a:gd name="T19" fmla="*/ 13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132">
                      <a:moveTo>
                        <a:pt x="106" y="131"/>
                      </a:moveTo>
                      <a:cubicBezTo>
                        <a:pt x="92" y="131"/>
                        <a:pt x="67" y="131"/>
                        <a:pt x="42" y="127"/>
                      </a:cubicBezTo>
                      <a:cubicBezTo>
                        <a:pt x="19" y="122"/>
                        <a:pt x="6" y="109"/>
                        <a:pt x="2" y="86"/>
                      </a:cubicBezTo>
                      <a:cubicBezTo>
                        <a:pt x="0" y="74"/>
                        <a:pt x="0" y="63"/>
                        <a:pt x="2" y="51"/>
                      </a:cubicBezTo>
                      <a:cubicBezTo>
                        <a:pt x="5" y="26"/>
                        <a:pt x="19" y="11"/>
                        <a:pt x="44" y="7"/>
                      </a:cubicBezTo>
                      <a:cubicBezTo>
                        <a:pt x="90" y="0"/>
                        <a:pt x="135" y="1"/>
                        <a:pt x="181" y="7"/>
                      </a:cubicBezTo>
                      <a:cubicBezTo>
                        <a:pt x="204" y="11"/>
                        <a:pt x="219" y="26"/>
                        <a:pt x="222" y="49"/>
                      </a:cubicBezTo>
                      <a:cubicBezTo>
                        <a:pt x="224" y="62"/>
                        <a:pt x="224" y="75"/>
                        <a:pt x="222" y="87"/>
                      </a:cubicBezTo>
                      <a:cubicBezTo>
                        <a:pt x="219" y="108"/>
                        <a:pt x="206" y="121"/>
                        <a:pt x="185" y="126"/>
                      </a:cubicBezTo>
                      <a:cubicBezTo>
                        <a:pt x="163" y="132"/>
                        <a:pt x="140" y="132"/>
                        <a:pt x="106" y="131"/>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88" name="Group 87"/>
              <p:cNvGrpSpPr/>
              <p:nvPr/>
            </p:nvGrpSpPr>
            <p:grpSpPr>
              <a:xfrm>
                <a:off x="5889309" y="3335767"/>
                <a:ext cx="631930" cy="184974"/>
                <a:chOff x="5981991" y="2678634"/>
                <a:chExt cx="631930" cy="184974"/>
              </a:xfrm>
              <a:solidFill>
                <a:schemeClr val="bg1"/>
              </a:solidFill>
            </p:grpSpPr>
            <p:grpSp>
              <p:nvGrpSpPr>
                <p:cNvPr id="89" name="Group 88"/>
                <p:cNvGrpSpPr/>
                <p:nvPr/>
              </p:nvGrpSpPr>
              <p:grpSpPr>
                <a:xfrm>
                  <a:off x="5981991" y="2678634"/>
                  <a:ext cx="257244" cy="184974"/>
                  <a:chOff x="5981991" y="2678634"/>
                  <a:chExt cx="257244" cy="184974"/>
                </a:xfrm>
                <a:grpFill/>
              </p:grpSpPr>
              <p:sp>
                <p:nvSpPr>
                  <p:cNvPr id="93" name="Freeform 92"/>
                  <p:cNvSpPr/>
                  <p:nvPr/>
                </p:nvSpPr>
                <p:spPr bwMode="auto">
                  <a:xfrm>
                    <a:off x="5981991" y="2678634"/>
                    <a:ext cx="125643" cy="184974"/>
                  </a:xfrm>
                  <a:custGeom>
                    <a:avLst/>
                    <a:gdLst>
                      <a:gd name="connsiteX0" fmla="*/ 64566 w 125643"/>
                      <a:gd name="connsiteY0" fmla="*/ 3490 h 184974"/>
                      <a:gd name="connsiteX1" fmla="*/ 0 w 125643"/>
                      <a:gd name="connsiteY1" fmla="*/ 184974 h 184974"/>
                      <a:gd name="connsiteX2" fmla="*/ 80272 w 125643"/>
                      <a:gd name="connsiteY2" fmla="*/ 184974 h 184974"/>
                      <a:gd name="connsiteX3" fmla="*/ 125643 w 125643"/>
                      <a:gd name="connsiteY3" fmla="*/ 0 h 184974"/>
                      <a:gd name="connsiteX4" fmla="*/ 64566 w 125643"/>
                      <a:gd name="connsiteY4" fmla="*/ 3490 h 184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43" h="184974">
                        <a:moveTo>
                          <a:pt x="64566" y="3490"/>
                        </a:moveTo>
                        <a:lnTo>
                          <a:pt x="0" y="184974"/>
                        </a:lnTo>
                        <a:lnTo>
                          <a:pt x="80272" y="184974"/>
                        </a:lnTo>
                        <a:lnTo>
                          <a:pt x="125643" y="0"/>
                        </a:lnTo>
                        <a:lnTo>
                          <a:pt x="64566" y="349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4" name="Freeform 93"/>
                  <p:cNvSpPr/>
                  <p:nvPr/>
                </p:nvSpPr>
                <p:spPr bwMode="auto">
                  <a:xfrm>
                    <a:off x="6113592" y="2678634"/>
                    <a:ext cx="125643" cy="184974"/>
                  </a:xfrm>
                  <a:custGeom>
                    <a:avLst/>
                    <a:gdLst>
                      <a:gd name="connsiteX0" fmla="*/ 64566 w 125643"/>
                      <a:gd name="connsiteY0" fmla="*/ 3490 h 184974"/>
                      <a:gd name="connsiteX1" fmla="*/ 0 w 125643"/>
                      <a:gd name="connsiteY1" fmla="*/ 184974 h 184974"/>
                      <a:gd name="connsiteX2" fmla="*/ 80272 w 125643"/>
                      <a:gd name="connsiteY2" fmla="*/ 184974 h 184974"/>
                      <a:gd name="connsiteX3" fmla="*/ 125643 w 125643"/>
                      <a:gd name="connsiteY3" fmla="*/ 0 h 184974"/>
                      <a:gd name="connsiteX4" fmla="*/ 64566 w 125643"/>
                      <a:gd name="connsiteY4" fmla="*/ 3490 h 184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43" h="184974">
                        <a:moveTo>
                          <a:pt x="64566" y="3490"/>
                        </a:moveTo>
                        <a:lnTo>
                          <a:pt x="0" y="184974"/>
                        </a:lnTo>
                        <a:lnTo>
                          <a:pt x="80272" y="184974"/>
                        </a:lnTo>
                        <a:lnTo>
                          <a:pt x="125643" y="0"/>
                        </a:lnTo>
                        <a:lnTo>
                          <a:pt x="64566" y="349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90" name="Group 89"/>
                <p:cNvGrpSpPr/>
                <p:nvPr/>
              </p:nvGrpSpPr>
              <p:grpSpPr>
                <a:xfrm rot="10800000">
                  <a:off x="6356677" y="2678634"/>
                  <a:ext cx="257244" cy="184974"/>
                  <a:chOff x="5981991" y="2678634"/>
                  <a:chExt cx="257244" cy="184974"/>
                </a:xfrm>
                <a:grpFill/>
              </p:grpSpPr>
              <p:sp>
                <p:nvSpPr>
                  <p:cNvPr id="91" name="Freeform 90"/>
                  <p:cNvSpPr/>
                  <p:nvPr/>
                </p:nvSpPr>
                <p:spPr bwMode="auto">
                  <a:xfrm>
                    <a:off x="5981991" y="2678634"/>
                    <a:ext cx="125643" cy="184974"/>
                  </a:xfrm>
                  <a:custGeom>
                    <a:avLst/>
                    <a:gdLst>
                      <a:gd name="connsiteX0" fmla="*/ 64566 w 125643"/>
                      <a:gd name="connsiteY0" fmla="*/ 3490 h 184974"/>
                      <a:gd name="connsiteX1" fmla="*/ 0 w 125643"/>
                      <a:gd name="connsiteY1" fmla="*/ 184974 h 184974"/>
                      <a:gd name="connsiteX2" fmla="*/ 80272 w 125643"/>
                      <a:gd name="connsiteY2" fmla="*/ 184974 h 184974"/>
                      <a:gd name="connsiteX3" fmla="*/ 125643 w 125643"/>
                      <a:gd name="connsiteY3" fmla="*/ 0 h 184974"/>
                      <a:gd name="connsiteX4" fmla="*/ 64566 w 125643"/>
                      <a:gd name="connsiteY4" fmla="*/ 3490 h 184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43" h="184974">
                        <a:moveTo>
                          <a:pt x="64566" y="3490"/>
                        </a:moveTo>
                        <a:lnTo>
                          <a:pt x="0" y="184974"/>
                        </a:lnTo>
                        <a:lnTo>
                          <a:pt x="80272" y="184974"/>
                        </a:lnTo>
                        <a:lnTo>
                          <a:pt x="125643" y="0"/>
                        </a:lnTo>
                        <a:lnTo>
                          <a:pt x="64566" y="349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2" name="Freeform 91"/>
                  <p:cNvSpPr/>
                  <p:nvPr/>
                </p:nvSpPr>
                <p:spPr bwMode="auto">
                  <a:xfrm>
                    <a:off x="6113592" y="2678634"/>
                    <a:ext cx="125643" cy="184974"/>
                  </a:xfrm>
                  <a:custGeom>
                    <a:avLst/>
                    <a:gdLst>
                      <a:gd name="connsiteX0" fmla="*/ 64566 w 125643"/>
                      <a:gd name="connsiteY0" fmla="*/ 3490 h 184974"/>
                      <a:gd name="connsiteX1" fmla="*/ 0 w 125643"/>
                      <a:gd name="connsiteY1" fmla="*/ 184974 h 184974"/>
                      <a:gd name="connsiteX2" fmla="*/ 80272 w 125643"/>
                      <a:gd name="connsiteY2" fmla="*/ 184974 h 184974"/>
                      <a:gd name="connsiteX3" fmla="*/ 125643 w 125643"/>
                      <a:gd name="connsiteY3" fmla="*/ 0 h 184974"/>
                      <a:gd name="connsiteX4" fmla="*/ 64566 w 125643"/>
                      <a:gd name="connsiteY4" fmla="*/ 3490 h 184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43" h="184974">
                        <a:moveTo>
                          <a:pt x="64566" y="3490"/>
                        </a:moveTo>
                        <a:lnTo>
                          <a:pt x="0" y="184974"/>
                        </a:lnTo>
                        <a:lnTo>
                          <a:pt x="80272" y="184974"/>
                        </a:lnTo>
                        <a:lnTo>
                          <a:pt x="125643" y="0"/>
                        </a:lnTo>
                        <a:lnTo>
                          <a:pt x="64566" y="3490"/>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grpSp>
      </p:grpSp>
      <p:grpSp>
        <p:nvGrpSpPr>
          <p:cNvPr id="106" name="Group 105"/>
          <p:cNvGrpSpPr/>
          <p:nvPr/>
        </p:nvGrpSpPr>
        <p:grpSpPr>
          <a:xfrm>
            <a:off x="9243379" y="2704730"/>
            <a:ext cx="1600200" cy="1600200"/>
            <a:chOff x="9658494" y="2704730"/>
            <a:chExt cx="1600200" cy="1600200"/>
          </a:xfrm>
        </p:grpSpPr>
        <p:sp>
          <p:nvSpPr>
            <p:cNvPr id="62" name="Rectangle 61"/>
            <p:cNvSpPr/>
            <p:nvPr/>
          </p:nvSpPr>
          <p:spPr>
            <a:xfrm>
              <a:off x="9658494"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85" name="Group 84"/>
            <p:cNvGrpSpPr/>
            <p:nvPr/>
          </p:nvGrpSpPr>
          <p:grpSpPr>
            <a:xfrm>
              <a:off x="9886782" y="3071481"/>
              <a:ext cx="1143624" cy="866698"/>
              <a:chOff x="9886782" y="3071481"/>
              <a:chExt cx="1143624" cy="866698"/>
            </a:xfrm>
          </p:grpSpPr>
          <p:grpSp>
            <p:nvGrpSpPr>
              <p:cNvPr id="79" name="Group 78"/>
              <p:cNvGrpSpPr/>
              <p:nvPr/>
            </p:nvGrpSpPr>
            <p:grpSpPr>
              <a:xfrm>
                <a:off x="9886782" y="3071481"/>
                <a:ext cx="1143624" cy="866698"/>
                <a:chOff x="1395525" y="3097901"/>
                <a:chExt cx="1143624" cy="866698"/>
              </a:xfrm>
            </p:grpSpPr>
            <p:sp>
              <p:nvSpPr>
                <p:cNvPr id="80" name="Freeform 31"/>
                <p:cNvSpPr>
                  <a:spLocks noEditPoints="1"/>
                </p:cNvSpPr>
                <p:nvPr/>
              </p:nvSpPr>
              <p:spPr bwMode="auto">
                <a:xfrm>
                  <a:off x="1395525" y="3097901"/>
                  <a:ext cx="1143624" cy="866698"/>
                </a:xfrm>
                <a:custGeom>
                  <a:avLst/>
                  <a:gdLst>
                    <a:gd name="T0" fmla="*/ 70 w 320"/>
                    <a:gd name="T1" fmla="*/ 240 h 240"/>
                    <a:gd name="T2" fmla="*/ 92 w 320"/>
                    <a:gd name="T3" fmla="*/ 210 h 240"/>
                    <a:gd name="T4" fmla="*/ 87 w 320"/>
                    <a:gd name="T5" fmla="*/ 198 h 240"/>
                    <a:gd name="T6" fmla="*/ 73 w 320"/>
                    <a:gd name="T7" fmla="*/ 197 h 240"/>
                    <a:gd name="T8" fmla="*/ 1 w 320"/>
                    <a:gd name="T9" fmla="*/ 121 h 240"/>
                    <a:gd name="T10" fmla="*/ 4 w 320"/>
                    <a:gd name="T11" fmla="*/ 66 h 240"/>
                    <a:gd name="T12" fmla="*/ 63 w 320"/>
                    <a:gd name="T13" fmla="*/ 10 h 240"/>
                    <a:gd name="T14" fmla="*/ 257 w 320"/>
                    <a:gd name="T15" fmla="*/ 10 h 240"/>
                    <a:gd name="T16" fmla="*/ 317 w 320"/>
                    <a:gd name="T17" fmla="*/ 75 h 240"/>
                    <a:gd name="T18" fmla="*/ 314 w 320"/>
                    <a:gd name="T19" fmla="*/ 143 h 240"/>
                    <a:gd name="T20" fmla="*/ 249 w 320"/>
                    <a:gd name="T21" fmla="*/ 196 h 240"/>
                    <a:gd name="T22" fmla="*/ 188 w 320"/>
                    <a:gd name="T23" fmla="*/ 201 h 240"/>
                    <a:gd name="T24" fmla="*/ 152 w 320"/>
                    <a:gd name="T25" fmla="*/ 214 h 240"/>
                    <a:gd name="T26" fmla="*/ 70 w 320"/>
                    <a:gd name="T27" fmla="*/ 240 h 240"/>
                    <a:gd name="T28" fmla="*/ 152 w 320"/>
                    <a:gd name="T29" fmla="*/ 165 h 240"/>
                    <a:gd name="T30" fmla="*/ 231 w 320"/>
                    <a:gd name="T31" fmla="*/ 160 h 240"/>
                    <a:gd name="T32" fmla="*/ 268 w 320"/>
                    <a:gd name="T33" fmla="*/ 121 h 240"/>
                    <a:gd name="T34" fmla="*/ 268 w 320"/>
                    <a:gd name="T35" fmla="*/ 83 h 240"/>
                    <a:gd name="T36" fmla="*/ 227 w 320"/>
                    <a:gd name="T37" fmla="*/ 41 h 240"/>
                    <a:gd name="T38" fmla="*/ 90 w 320"/>
                    <a:gd name="T39" fmla="*/ 41 h 240"/>
                    <a:gd name="T40" fmla="*/ 48 w 320"/>
                    <a:gd name="T41" fmla="*/ 85 h 240"/>
                    <a:gd name="T42" fmla="*/ 48 w 320"/>
                    <a:gd name="T43" fmla="*/ 120 h 240"/>
                    <a:gd name="T44" fmla="*/ 88 w 320"/>
                    <a:gd name="T45" fmla="*/ 161 h 240"/>
                    <a:gd name="T46" fmla="*/ 152 w 320"/>
                    <a:gd name="T47" fmla="*/ 16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40">
                      <a:moveTo>
                        <a:pt x="70" y="240"/>
                      </a:moveTo>
                      <a:cubicBezTo>
                        <a:pt x="78" y="229"/>
                        <a:pt x="85" y="220"/>
                        <a:pt x="92" y="210"/>
                      </a:cubicBezTo>
                      <a:cubicBezTo>
                        <a:pt x="97" y="203"/>
                        <a:pt x="97" y="198"/>
                        <a:pt x="87" y="198"/>
                      </a:cubicBezTo>
                      <a:cubicBezTo>
                        <a:pt x="82" y="198"/>
                        <a:pt x="77" y="197"/>
                        <a:pt x="73" y="197"/>
                      </a:cubicBezTo>
                      <a:cubicBezTo>
                        <a:pt x="28" y="191"/>
                        <a:pt x="4" y="166"/>
                        <a:pt x="1" y="121"/>
                      </a:cubicBezTo>
                      <a:cubicBezTo>
                        <a:pt x="0" y="103"/>
                        <a:pt x="0" y="85"/>
                        <a:pt x="4" y="66"/>
                      </a:cubicBezTo>
                      <a:cubicBezTo>
                        <a:pt x="11" y="36"/>
                        <a:pt x="32" y="15"/>
                        <a:pt x="63" y="10"/>
                      </a:cubicBezTo>
                      <a:cubicBezTo>
                        <a:pt x="127" y="0"/>
                        <a:pt x="192" y="0"/>
                        <a:pt x="257" y="10"/>
                      </a:cubicBezTo>
                      <a:cubicBezTo>
                        <a:pt x="291" y="16"/>
                        <a:pt x="310" y="37"/>
                        <a:pt x="317" y="75"/>
                      </a:cubicBezTo>
                      <a:cubicBezTo>
                        <a:pt x="320" y="98"/>
                        <a:pt x="319" y="121"/>
                        <a:pt x="314" y="143"/>
                      </a:cubicBezTo>
                      <a:cubicBezTo>
                        <a:pt x="307" y="173"/>
                        <a:pt x="283" y="192"/>
                        <a:pt x="249" y="196"/>
                      </a:cubicBezTo>
                      <a:cubicBezTo>
                        <a:pt x="229" y="198"/>
                        <a:pt x="209" y="200"/>
                        <a:pt x="188" y="201"/>
                      </a:cubicBezTo>
                      <a:cubicBezTo>
                        <a:pt x="175" y="202"/>
                        <a:pt x="163" y="206"/>
                        <a:pt x="152" y="214"/>
                      </a:cubicBezTo>
                      <a:cubicBezTo>
                        <a:pt x="128" y="231"/>
                        <a:pt x="100" y="236"/>
                        <a:pt x="70" y="240"/>
                      </a:cubicBezTo>
                      <a:close/>
                      <a:moveTo>
                        <a:pt x="152" y="165"/>
                      </a:moveTo>
                      <a:cubicBezTo>
                        <a:pt x="186" y="166"/>
                        <a:pt x="209" y="166"/>
                        <a:pt x="231" y="160"/>
                      </a:cubicBezTo>
                      <a:cubicBezTo>
                        <a:pt x="252" y="155"/>
                        <a:pt x="265" y="142"/>
                        <a:pt x="268" y="121"/>
                      </a:cubicBezTo>
                      <a:cubicBezTo>
                        <a:pt x="270" y="109"/>
                        <a:pt x="270" y="96"/>
                        <a:pt x="268" y="83"/>
                      </a:cubicBezTo>
                      <a:cubicBezTo>
                        <a:pt x="265" y="60"/>
                        <a:pt x="250" y="45"/>
                        <a:pt x="227" y="41"/>
                      </a:cubicBezTo>
                      <a:cubicBezTo>
                        <a:pt x="181" y="35"/>
                        <a:pt x="136" y="34"/>
                        <a:pt x="90" y="41"/>
                      </a:cubicBezTo>
                      <a:cubicBezTo>
                        <a:pt x="65" y="45"/>
                        <a:pt x="51" y="60"/>
                        <a:pt x="48" y="85"/>
                      </a:cubicBezTo>
                      <a:cubicBezTo>
                        <a:pt x="46" y="97"/>
                        <a:pt x="46" y="108"/>
                        <a:pt x="48" y="120"/>
                      </a:cubicBezTo>
                      <a:cubicBezTo>
                        <a:pt x="52" y="143"/>
                        <a:pt x="65" y="156"/>
                        <a:pt x="88" y="161"/>
                      </a:cubicBezTo>
                      <a:cubicBezTo>
                        <a:pt x="113" y="165"/>
                        <a:pt x="138" y="165"/>
                        <a:pt x="152" y="165"/>
                      </a:cubicBezTo>
                      <a:close/>
                    </a:path>
                  </a:pathLst>
                </a:custGeom>
                <a:solidFill>
                  <a:srgbClr val="FB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1" name="Freeform 32"/>
                <p:cNvSpPr>
                  <a:spLocks/>
                </p:cNvSpPr>
                <p:nvPr/>
              </p:nvSpPr>
              <p:spPr bwMode="auto">
                <a:xfrm>
                  <a:off x="1559632" y="3220982"/>
                  <a:ext cx="800024" cy="476941"/>
                </a:xfrm>
                <a:custGeom>
                  <a:avLst/>
                  <a:gdLst>
                    <a:gd name="T0" fmla="*/ 106 w 224"/>
                    <a:gd name="T1" fmla="*/ 131 h 132"/>
                    <a:gd name="T2" fmla="*/ 42 w 224"/>
                    <a:gd name="T3" fmla="*/ 127 h 132"/>
                    <a:gd name="T4" fmla="*/ 2 w 224"/>
                    <a:gd name="T5" fmla="*/ 86 h 132"/>
                    <a:gd name="T6" fmla="*/ 2 w 224"/>
                    <a:gd name="T7" fmla="*/ 51 h 132"/>
                    <a:gd name="T8" fmla="*/ 44 w 224"/>
                    <a:gd name="T9" fmla="*/ 7 h 132"/>
                    <a:gd name="T10" fmla="*/ 181 w 224"/>
                    <a:gd name="T11" fmla="*/ 7 h 132"/>
                    <a:gd name="T12" fmla="*/ 222 w 224"/>
                    <a:gd name="T13" fmla="*/ 49 h 132"/>
                    <a:gd name="T14" fmla="*/ 222 w 224"/>
                    <a:gd name="T15" fmla="*/ 87 h 132"/>
                    <a:gd name="T16" fmla="*/ 185 w 224"/>
                    <a:gd name="T17" fmla="*/ 126 h 132"/>
                    <a:gd name="T18" fmla="*/ 106 w 224"/>
                    <a:gd name="T19" fmla="*/ 13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132">
                      <a:moveTo>
                        <a:pt x="106" y="131"/>
                      </a:moveTo>
                      <a:cubicBezTo>
                        <a:pt x="92" y="131"/>
                        <a:pt x="67" y="131"/>
                        <a:pt x="42" y="127"/>
                      </a:cubicBezTo>
                      <a:cubicBezTo>
                        <a:pt x="19" y="122"/>
                        <a:pt x="6" y="109"/>
                        <a:pt x="2" y="86"/>
                      </a:cubicBezTo>
                      <a:cubicBezTo>
                        <a:pt x="0" y="74"/>
                        <a:pt x="0" y="63"/>
                        <a:pt x="2" y="51"/>
                      </a:cubicBezTo>
                      <a:cubicBezTo>
                        <a:pt x="5" y="26"/>
                        <a:pt x="19" y="11"/>
                        <a:pt x="44" y="7"/>
                      </a:cubicBezTo>
                      <a:cubicBezTo>
                        <a:pt x="90" y="0"/>
                        <a:pt x="135" y="1"/>
                        <a:pt x="181" y="7"/>
                      </a:cubicBezTo>
                      <a:cubicBezTo>
                        <a:pt x="204" y="11"/>
                        <a:pt x="219" y="26"/>
                        <a:pt x="222" y="49"/>
                      </a:cubicBezTo>
                      <a:cubicBezTo>
                        <a:pt x="224" y="62"/>
                        <a:pt x="224" y="75"/>
                        <a:pt x="222" y="87"/>
                      </a:cubicBezTo>
                      <a:cubicBezTo>
                        <a:pt x="219" y="108"/>
                        <a:pt x="206" y="121"/>
                        <a:pt x="185" y="126"/>
                      </a:cubicBezTo>
                      <a:cubicBezTo>
                        <a:pt x="163" y="132"/>
                        <a:pt x="140" y="132"/>
                        <a:pt x="106" y="131"/>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97" name="Group 96"/>
              <p:cNvGrpSpPr/>
              <p:nvPr/>
            </p:nvGrpSpPr>
            <p:grpSpPr>
              <a:xfrm>
                <a:off x="10247205" y="3305007"/>
                <a:ext cx="422778" cy="268455"/>
                <a:chOff x="9799637" y="2592327"/>
                <a:chExt cx="465113" cy="295337"/>
              </a:xfrm>
              <a:solidFill>
                <a:schemeClr val="bg1"/>
              </a:solidFill>
            </p:grpSpPr>
            <p:sp>
              <p:nvSpPr>
                <p:cNvPr id="101" name="Freeform 100"/>
                <p:cNvSpPr/>
                <p:nvPr/>
              </p:nvSpPr>
              <p:spPr bwMode="auto">
                <a:xfrm rot="16200000">
                  <a:off x="9725512" y="2666453"/>
                  <a:ext cx="295336" cy="147085"/>
                </a:xfrm>
                <a:custGeom>
                  <a:avLst/>
                  <a:gdLst>
                    <a:gd name="connsiteX0" fmla="*/ 295336 w 295336"/>
                    <a:gd name="connsiteY0" fmla="*/ 50682 h 147085"/>
                    <a:gd name="connsiteX1" fmla="*/ 295336 w 295336"/>
                    <a:gd name="connsiteY1" fmla="*/ 96401 h 147085"/>
                    <a:gd name="connsiteX2" fmla="*/ 200777 w 295336"/>
                    <a:gd name="connsiteY2" fmla="*/ 96401 h 147085"/>
                    <a:gd name="connsiteX3" fmla="*/ 200777 w 295336"/>
                    <a:gd name="connsiteY3" fmla="*/ 147085 h 147085"/>
                    <a:gd name="connsiteX4" fmla="*/ 155058 w 295336"/>
                    <a:gd name="connsiteY4" fmla="*/ 147085 h 147085"/>
                    <a:gd name="connsiteX5" fmla="*/ 155058 w 295336"/>
                    <a:gd name="connsiteY5" fmla="*/ 96401 h 147085"/>
                    <a:gd name="connsiteX6" fmla="*/ 0 w 295336"/>
                    <a:gd name="connsiteY6" fmla="*/ 96401 h 147085"/>
                    <a:gd name="connsiteX7" fmla="*/ 0 w 295336"/>
                    <a:gd name="connsiteY7" fmla="*/ 50682 h 147085"/>
                    <a:gd name="connsiteX8" fmla="*/ 155058 w 295336"/>
                    <a:gd name="connsiteY8" fmla="*/ 50682 h 147085"/>
                    <a:gd name="connsiteX9" fmla="*/ 155058 w 295336"/>
                    <a:gd name="connsiteY9" fmla="*/ 0 h 147085"/>
                    <a:gd name="connsiteX10" fmla="*/ 200777 w 295336"/>
                    <a:gd name="connsiteY10" fmla="*/ 0 h 147085"/>
                    <a:gd name="connsiteX11" fmla="*/ 200777 w 295336"/>
                    <a:gd name="connsiteY11" fmla="*/ 50682 h 14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5336" h="147085">
                      <a:moveTo>
                        <a:pt x="295336" y="50682"/>
                      </a:moveTo>
                      <a:lnTo>
                        <a:pt x="295336" y="96401"/>
                      </a:lnTo>
                      <a:lnTo>
                        <a:pt x="200777" y="96401"/>
                      </a:lnTo>
                      <a:lnTo>
                        <a:pt x="200777" y="147085"/>
                      </a:lnTo>
                      <a:lnTo>
                        <a:pt x="155058" y="147085"/>
                      </a:lnTo>
                      <a:lnTo>
                        <a:pt x="155058" y="96401"/>
                      </a:lnTo>
                      <a:lnTo>
                        <a:pt x="0" y="96401"/>
                      </a:lnTo>
                      <a:lnTo>
                        <a:pt x="0" y="50682"/>
                      </a:lnTo>
                      <a:lnTo>
                        <a:pt x="155058" y="50682"/>
                      </a:lnTo>
                      <a:lnTo>
                        <a:pt x="155058" y="0"/>
                      </a:lnTo>
                      <a:lnTo>
                        <a:pt x="200777" y="0"/>
                      </a:lnTo>
                      <a:lnTo>
                        <a:pt x="200777" y="506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2" name="Freeform 101"/>
                <p:cNvSpPr/>
                <p:nvPr/>
              </p:nvSpPr>
              <p:spPr bwMode="auto">
                <a:xfrm rot="16200000">
                  <a:off x="9884527" y="2666453"/>
                  <a:ext cx="295336" cy="147085"/>
                </a:xfrm>
                <a:custGeom>
                  <a:avLst/>
                  <a:gdLst>
                    <a:gd name="connsiteX0" fmla="*/ 295336 w 295336"/>
                    <a:gd name="connsiteY0" fmla="*/ 50682 h 147085"/>
                    <a:gd name="connsiteX1" fmla="*/ 295336 w 295336"/>
                    <a:gd name="connsiteY1" fmla="*/ 96401 h 147085"/>
                    <a:gd name="connsiteX2" fmla="*/ 118391 w 295336"/>
                    <a:gd name="connsiteY2" fmla="*/ 96401 h 147085"/>
                    <a:gd name="connsiteX3" fmla="*/ 118391 w 295336"/>
                    <a:gd name="connsiteY3" fmla="*/ 147085 h 147085"/>
                    <a:gd name="connsiteX4" fmla="*/ 72672 w 295336"/>
                    <a:gd name="connsiteY4" fmla="*/ 147085 h 147085"/>
                    <a:gd name="connsiteX5" fmla="*/ 72672 w 295336"/>
                    <a:gd name="connsiteY5" fmla="*/ 96401 h 147085"/>
                    <a:gd name="connsiteX6" fmla="*/ 0 w 295336"/>
                    <a:gd name="connsiteY6" fmla="*/ 96401 h 147085"/>
                    <a:gd name="connsiteX7" fmla="*/ 0 w 295336"/>
                    <a:gd name="connsiteY7" fmla="*/ 50682 h 147085"/>
                    <a:gd name="connsiteX8" fmla="*/ 72672 w 295336"/>
                    <a:gd name="connsiteY8" fmla="*/ 50682 h 147085"/>
                    <a:gd name="connsiteX9" fmla="*/ 72672 w 295336"/>
                    <a:gd name="connsiteY9" fmla="*/ 0 h 147085"/>
                    <a:gd name="connsiteX10" fmla="*/ 118391 w 295336"/>
                    <a:gd name="connsiteY10" fmla="*/ 0 h 147085"/>
                    <a:gd name="connsiteX11" fmla="*/ 118391 w 295336"/>
                    <a:gd name="connsiteY11" fmla="*/ 50682 h 14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5336" h="147085">
                      <a:moveTo>
                        <a:pt x="295336" y="50682"/>
                      </a:moveTo>
                      <a:lnTo>
                        <a:pt x="295336" y="96401"/>
                      </a:lnTo>
                      <a:lnTo>
                        <a:pt x="118391" y="96401"/>
                      </a:lnTo>
                      <a:lnTo>
                        <a:pt x="118391" y="147085"/>
                      </a:lnTo>
                      <a:lnTo>
                        <a:pt x="72672" y="147085"/>
                      </a:lnTo>
                      <a:lnTo>
                        <a:pt x="72672" y="96401"/>
                      </a:lnTo>
                      <a:lnTo>
                        <a:pt x="0" y="96401"/>
                      </a:lnTo>
                      <a:lnTo>
                        <a:pt x="0" y="50682"/>
                      </a:lnTo>
                      <a:lnTo>
                        <a:pt x="72672" y="50682"/>
                      </a:lnTo>
                      <a:lnTo>
                        <a:pt x="72672" y="0"/>
                      </a:lnTo>
                      <a:lnTo>
                        <a:pt x="118391" y="0"/>
                      </a:lnTo>
                      <a:lnTo>
                        <a:pt x="118391" y="50682"/>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3" name="Freeform 102"/>
                <p:cNvSpPr/>
                <p:nvPr/>
              </p:nvSpPr>
              <p:spPr bwMode="auto">
                <a:xfrm>
                  <a:off x="10117666" y="2592327"/>
                  <a:ext cx="147084" cy="295335"/>
                </a:xfrm>
                <a:custGeom>
                  <a:avLst/>
                  <a:gdLst>
                    <a:gd name="connsiteX0" fmla="*/ 50681 w 147084"/>
                    <a:gd name="connsiteY0" fmla="*/ 0 h 295335"/>
                    <a:gd name="connsiteX1" fmla="*/ 96400 w 147084"/>
                    <a:gd name="connsiteY1" fmla="*/ 0 h 295335"/>
                    <a:gd name="connsiteX2" fmla="*/ 96400 w 147084"/>
                    <a:gd name="connsiteY2" fmla="*/ 40363 h 295335"/>
                    <a:gd name="connsiteX3" fmla="*/ 147084 w 147084"/>
                    <a:gd name="connsiteY3" fmla="*/ 40363 h 295335"/>
                    <a:gd name="connsiteX4" fmla="*/ 147084 w 147084"/>
                    <a:gd name="connsiteY4" fmla="*/ 86082 h 295335"/>
                    <a:gd name="connsiteX5" fmla="*/ 96400 w 147084"/>
                    <a:gd name="connsiteY5" fmla="*/ 86082 h 295335"/>
                    <a:gd name="connsiteX6" fmla="*/ 96400 w 147084"/>
                    <a:gd name="connsiteY6" fmla="*/ 295335 h 295335"/>
                    <a:gd name="connsiteX7" fmla="*/ 50681 w 147084"/>
                    <a:gd name="connsiteY7" fmla="*/ 295335 h 295335"/>
                    <a:gd name="connsiteX8" fmla="*/ 50681 w 147084"/>
                    <a:gd name="connsiteY8" fmla="*/ 86082 h 295335"/>
                    <a:gd name="connsiteX9" fmla="*/ 0 w 147084"/>
                    <a:gd name="connsiteY9" fmla="*/ 86082 h 295335"/>
                    <a:gd name="connsiteX10" fmla="*/ 0 w 147084"/>
                    <a:gd name="connsiteY10" fmla="*/ 40363 h 295335"/>
                    <a:gd name="connsiteX11" fmla="*/ 50681 w 147084"/>
                    <a:gd name="connsiteY11" fmla="*/ 40363 h 29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084" h="295335">
                      <a:moveTo>
                        <a:pt x="50681" y="0"/>
                      </a:moveTo>
                      <a:lnTo>
                        <a:pt x="96400" y="0"/>
                      </a:lnTo>
                      <a:lnTo>
                        <a:pt x="96400" y="40363"/>
                      </a:lnTo>
                      <a:lnTo>
                        <a:pt x="147084" y="40363"/>
                      </a:lnTo>
                      <a:lnTo>
                        <a:pt x="147084" y="86082"/>
                      </a:lnTo>
                      <a:lnTo>
                        <a:pt x="96400" y="86082"/>
                      </a:lnTo>
                      <a:lnTo>
                        <a:pt x="96400" y="295335"/>
                      </a:lnTo>
                      <a:lnTo>
                        <a:pt x="50681" y="295335"/>
                      </a:lnTo>
                      <a:lnTo>
                        <a:pt x="50681" y="86082"/>
                      </a:lnTo>
                      <a:lnTo>
                        <a:pt x="0" y="86082"/>
                      </a:lnTo>
                      <a:lnTo>
                        <a:pt x="0" y="40363"/>
                      </a:lnTo>
                      <a:lnTo>
                        <a:pt x="50681" y="40363"/>
                      </a:lnTo>
                      <a:close/>
                    </a:path>
                  </a:pathLst>
                </a:cu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grpSp>
      <p:grpSp>
        <p:nvGrpSpPr>
          <p:cNvPr id="23" name="Group 22"/>
          <p:cNvGrpSpPr/>
          <p:nvPr/>
        </p:nvGrpSpPr>
        <p:grpSpPr>
          <a:xfrm>
            <a:off x="929957" y="4466134"/>
            <a:ext cx="2926080" cy="1440951"/>
            <a:chOff x="504297" y="3658467"/>
            <a:chExt cx="2926080" cy="1440951"/>
          </a:xfrm>
        </p:grpSpPr>
        <p:sp>
          <p:nvSpPr>
            <p:cNvPr id="24" name="TextBox 23"/>
            <p:cNvSpPr txBox="1"/>
            <p:nvPr/>
          </p:nvSpPr>
          <p:spPr>
            <a:xfrm>
              <a:off x="504297" y="3658467"/>
              <a:ext cx="2926080" cy="572464"/>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Bing Speech API</a:t>
              </a:r>
            </a:p>
          </p:txBody>
        </p:sp>
        <p:sp>
          <p:nvSpPr>
            <p:cNvPr id="25" name="Rectangle 24"/>
            <p:cNvSpPr/>
            <p:nvPr/>
          </p:nvSpPr>
          <p:spPr>
            <a:xfrm>
              <a:off x="637301" y="4300738"/>
              <a:ext cx="2660073" cy="798680"/>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Convert speech to text and back again, and understand its intent</a:t>
              </a:r>
            </a:p>
          </p:txBody>
        </p:sp>
      </p:grpSp>
      <p:grpSp>
        <p:nvGrpSpPr>
          <p:cNvPr id="26" name="Group 25"/>
          <p:cNvGrpSpPr/>
          <p:nvPr/>
        </p:nvGrpSpPr>
        <p:grpSpPr>
          <a:xfrm>
            <a:off x="4603621" y="4466134"/>
            <a:ext cx="3218688" cy="1205502"/>
            <a:chOff x="3147784" y="3658467"/>
            <a:chExt cx="3218688" cy="1205502"/>
          </a:xfrm>
        </p:grpSpPr>
        <p:sp>
          <p:nvSpPr>
            <p:cNvPr id="27" name="TextBox 26"/>
            <p:cNvSpPr txBox="1"/>
            <p:nvPr/>
          </p:nvSpPr>
          <p:spPr>
            <a:xfrm>
              <a:off x="3147784" y="3658467"/>
              <a:ext cx="3218688" cy="572464"/>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Speaker Recognition API</a:t>
              </a:r>
            </a:p>
          </p:txBody>
        </p:sp>
        <p:sp>
          <p:nvSpPr>
            <p:cNvPr id="28" name="Rectangle 27"/>
            <p:cNvSpPr/>
            <p:nvPr/>
          </p:nvSpPr>
          <p:spPr>
            <a:xfrm>
              <a:off x="3427092" y="4300738"/>
              <a:ext cx="2660073" cy="563231"/>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Give your app the ability to know who's talking</a:t>
              </a:r>
            </a:p>
          </p:txBody>
        </p:sp>
      </p:grpSp>
      <p:grpSp>
        <p:nvGrpSpPr>
          <p:cNvPr id="29" name="Group 28"/>
          <p:cNvGrpSpPr/>
          <p:nvPr/>
        </p:nvGrpSpPr>
        <p:grpSpPr>
          <a:xfrm>
            <a:off x="8580437" y="4327635"/>
            <a:ext cx="2926080" cy="1579450"/>
            <a:chOff x="6083879" y="3519968"/>
            <a:chExt cx="2926080" cy="1579450"/>
          </a:xfrm>
        </p:grpSpPr>
        <p:sp>
          <p:nvSpPr>
            <p:cNvPr id="30" name="TextBox 29"/>
            <p:cNvSpPr txBox="1"/>
            <p:nvPr/>
          </p:nvSpPr>
          <p:spPr>
            <a:xfrm>
              <a:off x="6083879" y="3519968"/>
              <a:ext cx="2926080" cy="849463"/>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Custom Recognition Intelligent Service</a:t>
              </a:r>
            </a:p>
          </p:txBody>
        </p:sp>
        <p:sp>
          <p:nvSpPr>
            <p:cNvPr id="31" name="Rectangle 30"/>
            <p:cNvSpPr/>
            <p:nvPr/>
          </p:nvSpPr>
          <p:spPr>
            <a:xfrm>
              <a:off x="6216883" y="4300738"/>
              <a:ext cx="2660073" cy="798680"/>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Fine-tune speech recognition for anyone, anywhere</a:t>
              </a:r>
            </a:p>
          </p:txBody>
        </p:sp>
      </p:grpSp>
    </p:spTree>
    <p:extLst>
      <p:ext uri="{BB962C8B-B14F-4D97-AF65-F5344CB8AC3E}">
        <p14:creationId xmlns:p14="http://schemas.microsoft.com/office/powerpoint/2010/main" val="224304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xit" presetSubtype="0" fill="hold" nodeType="afterEffect">
                                  <p:stCondLst>
                                    <p:cond delay="0"/>
                                  </p:stCondLst>
                                  <p:childTnLst>
                                    <p:animEffect transition="out" filter="fade">
                                      <p:cBhvr>
                                        <p:cTn id="6" dur="300"/>
                                        <p:tgtEl>
                                          <p:spTgt spid="7"/>
                                        </p:tgtEl>
                                      </p:cBhvr>
                                    </p:animEffect>
                                    <p:anim calcmode="lin" valueType="num">
                                      <p:cBhvr>
                                        <p:cTn id="7" dur="300"/>
                                        <p:tgtEl>
                                          <p:spTgt spid="7"/>
                                        </p:tgtEl>
                                        <p:attrNameLst>
                                          <p:attrName>ppt_x</p:attrName>
                                        </p:attrNameLst>
                                      </p:cBhvr>
                                      <p:tavLst>
                                        <p:tav tm="0">
                                          <p:val>
                                            <p:strVal val="ppt_x"/>
                                          </p:val>
                                        </p:tav>
                                        <p:tav tm="100000">
                                          <p:val>
                                            <p:strVal val="ppt_x"/>
                                          </p:val>
                                        </p:tav>
                                      </p:tavLst>
                                    </p:anim>
                                    <p:anim calcmode="lin" valueType="num">
                                      <p:cBhvr>
                                        <p:cTn id="8" dur="300"/>
                                        <p:tgtEl>
                                          <p:spTgt spid="7"/>
                                        </p:tgtEl>
                                        <p:attrNameLst>
                                          <p:attrName>ppt_y</p:attrName>
                                        </p:attrNameLst>
                                      </p:cBhvr>
                                      <p:tavLst>
                                        <p:tav tm="0">
                                          <p:val>
                                            <p:strVal val="ppt_y"/>
                                          </p:val>
                                        </p:tav>
                                        <p:tav tm="100000">
                                          <p:val>
                                            <p:strVal val="ppt_y+.1"/>
                                          </p:val>
                                        </p:tav>
                                      </p:tavLst>
                                    </p:anim>
                                    <p:set>
                                      <p:cBhvr>
                                        <p:cTn id="9" dur="1" fill="hold">
                                          <p:stCondLst>
                                            <p:cond delay="299"/>
                                          </p:stCondLst>
                                        </p:cTn>
                                        <p:tgtEl>
                                          <p:spTgt spid="7"/>
                                        </p:tgtEl>
                                        <p:attrNameLst>
                                          <p:attrName>style.visibility</p:attrName>
                                        </p:attrNameLst>
                                      </p:cBhvr>
                                      <p:to>
                                        <p:strVal val="hidden"/>
                                      </p:to>
                                    </p:set>
                                  </p:childTnLst>
                                </p:cTn>
                              </p:par>
                              <p:par>
                                <p:cTn id="10" presetID="47"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300"/>
                                        <p:tgtEl>
                                          <p:spTgt spid="3"/>
                                        </p:tgtEl>
                                      </p:cBhvr>
                                    </p:animEffect>
                                    <p:anim calcmode="lin" valueType="num">
                                      <p:cBhvr>
                                        <p:cTn id="13" dur="300" fill="hold"/>
                                        <p:tgtEl>
                                          <p:spTgt spid="3"/>
                                        </p:tgtEl>
                                        <p:attrNameLst>
                                          <p:attrName>ppt_x</p:attrName>
                                        </p:attrNameLst>
                                      </p:cBhvr>
                                      <p:tavLst>
                                        <p:tav tm="0">
                                          <p:val>
                                            <p:strVal val="#ppt_x"/>
                                          </p:val>
                                        </p:tav>
                                        <p:tav tm="100000">
                                          <p:val>
                                            <p:strVal val="#ppt_x"/>
                                          </p:val>
                                        </p:tav>
                                      </p:tavLst>
                                    </p:anim>
                                    <p:anim calcmode="lin" valueType="num">
                                      <p:cBhvr>
                                        <p:cTn id="14" dur="3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a:xfrm>
            <a:off x="274638" y="4872215"/>
            <a:ext cx="7315199" cy="2068259"/>
          </a:xfrm>
        </p:spPr>
        <p:txBody>
          <a:bodyPr/>
          <a:lstStyle/>
          <a:p>
            <a:r>
              <a:rPr lang="en-US" dirty="0"/>
              <a:t>Speech API</a:t>
            </a:r>
          </a:p>
          <a:p>
            <a:r>
              <a:rPr lang="en-US" dirty="0"/>
              <a:t>Speaker Recognition API </a:t>
            </a:r>
          </a:p>
          <a:p>
            <a:r>
              <a:rPr lang="en-US" dirty="0">
                <a:hlinkClick r:id="rId3"/>
              </a:rPr>
              <a:t>http://microsoft.com/cognitive</a:t>
            </a:r>
            <a:r>
              <a:rPr lang="en-US" dirty="0"/>
              <a:t> </a:t>
            </a:r>
          </a:p>
          <a:p>
            <a:endParaRPr lang="en-US" dirty="0"/>
          </a:p>
        </p:txBody>
      </p:sp>
    </p:spTree>
    <p:extLst>
      <p:ext uri="{BB962C8B-B14F-4D97-AF65-F5344CB8AC3E}">
        <p14:creationId xmlns:p14="http://schemas.microsoft.com/office/powerpoint/2010/main" val="3138726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nguage</a:t>
            </a:r>
          </a:p>
        </p:txBody>
      </p:sp>
    </p:spTree>
    <p:extLst>
      <p:ext uri="{BB962C8B-B14F-4D97-AF65-F5344CB8AC3E}">
        <p14:creationId xmlns:p14="http://schemas.microsoft.com/office/powerpoint/2010/main" val="311842952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p:cNvSpPr/>
          <p:nvPr/>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89" name="Group 88"/>
          <p:cNvGrpSpPr/>
          <p:nvPr/>
        </p:nvGrpSpPr>
        <p:grpSpPr>
          <a:xfrm>
            <a:off x="588290" y="364664"/>
            <a:ext cx="3259886" cy="770398"/>
            <a:chOff x="1174755" y="1701746"/>
            <a:chExt cx="3259886" cy="770398"/>
          </a:xfrm>
        </p:grpSpPr>
        <p:sp>
          <p:nvSpPr>
            <p:cNvPr id="92" name="Rectangle 91"/>
            <p:cNvSpPr/>
            <p:nvPr/>
          </p:nvSpPr>
          <p:spPr>
            <a:xfrm>
              <a:off x="1931486" y="1701746"/>
              <a:ext cx="2503155" cy="769441"/>
            </a:xfrm>
            <a:prstGeom prst="rect">
              <a:avLst/>
            </a:prstGeom>
            <a:noFill/>
          </p:spPr>
          <p:txBody>
            <a:bodyPr wrap="square" anchor="ctr">
              <a:spAutoFit/>
            </a:bodyPr>
            <a:lstStyle/>
            <a:p>
              <a:pPr marL="182845" marR="0" lvl="0" indent="0" algn="l" defTabSz="931741" rtl="0" eaLnBrk="1" fontAlgn="base" latinLnBrk="0" hangingPunct="1">
                <a:lnSpc>
                  <a:spcPct val="100000"/>
                </a:lnSpc>
                <a:spcBef>
                  <a:spcPts val="1199"/>
                </a:spcBef>
                <a:spcAft>
                  <a:spcPts val="1199"/>
                </a:spcAft>
                <a:buClrTx/>
                <a:buSzTx/>
                <a:buFontTx/>
                <a:buNone/>
                <a:tabLst/>
                <a:defRPr/>
              </a:pPr>
              <a:r>
                <a:rPr kumimoji="0" lang="en-US" sz="44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rPr>
                <a:t>Speech</a:t>
              </a:r>
            </a:p>
          </p:txBody>
        </p:sp>
        <p:sp>
          <p:nvSpPr>
            <p:cNvPr id="91" name="Freeform 18"/>
            <p:cNvSpPr>
              <a:spLocks noChangeAspect="1"/>
            </p:cNvSpPr>
            <p:nvPr/>
          </p:nvSpPr>
          <p:spPr bwMode="auto">
            <a:xfrm>
              <a:off x="1174755" y="1820147"/>
              <a:ext cx="744295" cy="651997"/>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6" name="Group 65"/>
          <p:cNvGrpSpPr/>
          <p:nvPr/>
        </p:nvGrpSpPr>
        <p:grpSpPr>
          <a:xfrm>
            <a:off x="10255831" y="2704728"/>
            <a:ext cx="1600200" cy="1600200"/>
            <a:chOff x="10270699" y="2704728"/>
            <a:chExt cx="1600200" cy="1600200"/>
          </a:xfrm>
        </p:grpSpPr>
        <p:sp>
          <p:nvSpPr>
            <p:cNvPr id="67" name="Rectangle 66"/>
            <p:cNvSpPr/>
            <p:nvPr/>
          </p:nvSpPr>
          <p:spPr>
            <a:xfrm>
              <a:off x="10270699" y="2704728"/>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68" name="Group 67"/>
            <p:cNvGrpSpPr/>
            <p:nvPr/>
          </p:nvGrpSpPr>
          <p:grpSpPr>
            <a:xfrm>
              <a:off x="10574049" y="2901004"/>
              <a:ext cx="993502" cy="1207648"/>
              <a:chOff x="10574049" y="2901004"/>
              <a:chExt cx="993502" cy="1207648"/>
            </a:xfrm>
          </p:grpSpPr>
          <p:grpSp>
            <p:nvGrpSpPr>
              <p:cNvPr id="69" name="Group 68"/>
              <p:cNvGrpSpPr/>
              <p:nvPr/>
            </p:nvGrpSpPr>
            <p:grpSpPr>
              <a:xfrm>
                <a:off x="10574049" y="2901004"/>
                <a:ext cx="993502" cy="1207648"/>
                <a:chOff x="1127084" y="3139548"/>
                <a:chExt cx="851767" cy="1035364"/>
              </a:xfrm>
            </p:grpSpPr>
            <p:sp>
              <p:nvSpPr>
                <p:cNvPr id="71" name="Freeform 41"/>
                <p:cNvSpPr>
                  <a:spLocks noEditPoints="1"/>
                </p:cNvSpPr>
                <p:nvPr/>
              </p:nvSpPr>
              <p:spPr bwMode="auto">
                <a:xfrm>
                  <a:off x="1127084" y="3139548"/>
                  <a:ext cx="851767" cy="1035364"/>
                </a:xfrm>
                <a:custGeom>
                  <a:avLst/>
                  <a:gdLst>
                    <a:gd name="T0" fmla="*/ 237 w 273"/>
                    <a:gd name="T1" fmla="*/ 54 h 332"/>
                    <a:gd name="T2" fmla="*/ 54 w 273"/>
                    <a:gd name="T3" fmla="*/ 58 h 332"/>
                    <a:gd name="T4" fmla="*/ 55 w 273"/>
                    <a:gd name="T5" fmla="*/ 203 h 332"/>
                    <a:gd name="T6" fmla="*/ 98 w 273"/>
                    <a:gd name="T7" fmla="*/ 235 h 332"/>
                    <a:gd name="T8" fmla="*/ 63 w 273"/>
                    <a:gd name="T9" fmla="*/ 261 h 332"/>
                    <a:gd name="T10" fmla="*/ 15 w 273"/>
                    <a:gd name="T11" fmla="*/ 281 h 332"/>
                    <a:gd name="T12" fmla="*/ 6 w 273"/>
                    <a:gd name="T13" fmla="*/ 315 h 332"/>
                    <a:gd name="T14" fmla="*/ 20 w 273"/>
                    <a:gd name="T15" fmla="*/ 322 h 332"/>
                    <a:gd name="T16" fmla="*/ 216 w 273"/>
                    <a:gd name="T17" fmla="*/ 250 h 332"/>
                    <a:gd name="T18" fmla="*/ 258 w 273"/>
                    <a:gd name="T19" fmla="*/ 182 h 332"/>
                    <a:gd name="T20" fmla="*/ 237 w 273"/>
                    <a:gd name="T21" fmla="*/ 54 h 332"/>
                    <a:gd name="T22" fmla="*/ 149 w 273"/>
                    <a:gd name="T23" fmla="*/ 209 h 332"/>
                    <a:gd name="T24" fmla="*/ 76 w 273"/>
                    <a:gd name="T25" fmla="*/ 160 h 332"/>
                    <a:gd name="T26" fmla="*/ 86 w 273"/>
                    <a:gd name="T27" fmla="*/ 82 h 332"/>
                    <a:gd name="T28" fmla="*/ 96 w 273"/>
                    <a:gd name="T29" fmla="*/ 72 h 332"/>
                    <a:gd name="T30" fmla="*/ 149 w 273"/>
                    <a:gd name="T31" fmla="*/ 51 h 332"/>
                    <a:gd name="T32" fmla="*/ 228 w 273"/>
                    <a:gd name="T33" fmla="*/ 130 h 332"/>
                    <a:gd name="T34" fmla="*/ 149 w 273"/>
                    <a:gd name="T35" fmla="*/ 20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3" h="332">
                      <a:moveTo>
                        <a:pt x="237" y="54"/>
                      </a:moveTo>
                      <a:cubicBezTo>
                        <a:pt x="189" y="0"/>
                        <a:pt x="101" y="2"/>
                        <a:pt x="54" y="58"/>
                      </a:cubicBezTo>
                      <a:cubicBezTo>
                        <a:pt x="19" y="100"/>
                        <a:pt x="19" y="161"/>
                        <a:pt x="55" y="203"/>
                      </a:cubicBezTo>
                      <a:cubicBezTo>
                        <a:pt x="67" y="217"/>
                        <a:pt x="81" y="226"/>
                        <a:pt x="98" y="235"/>
                      </a:cubicBezTo>
                      <a:cubicBezTo>
                        <a:pt x="87" y="248"/>
                        <a:pt x="76" y="256"/>
                        <a:pt x="63" y="261"/>
                      </a:cubicBezTo>
                      <a:cubicBezTo>
                        <a:pt x="47" y="268"/>
                        <a:pt x="31" y="274"/>
                        <a:pt x="15" y="281"/>
                      </a:cubicBezTo>
                      <a:cubicBezTo>
                        <a:pt x="0" y="287"/>
                        <a:pt x="7" y="303"/>
                        <a:pt x="6" y="315"/>
                      </a:cubicBezTo>
                      <a:cubicBezTo>
                        <a:pt x="5" y="324"/>
                        <a:pt x="14" y="321"/>
                        <a:pt x="20" y="322"/>
                      </a:cubicBezTo>
                      <a:cubicBezTo>
                        <a:pt x="95" y="332"/>
                        <a:pt x="159" y="304"/>
                        <a:pt x="216" y="250"/>
                      </a:cubicBezTo>
                      <a:cubicBezTo>
                        <a:pt x="235" y="232"/>
                        <a:pt x="250" y="209"/>
                        <a:pt x="258" y="182"/>
                      </a:cubicBezTo>
                      <a:cubicBezTo>
                        <a:pt x="273" y="135"/>
                        <a:pt x="270" y="91"/>
                        <a:pt x="237" y="54"/>
                      </a:cubicBezTo>
                      <a:close/>
                      <a:moveTo>
                        <a:pt x="149" y="209"/>
                      </a:moveTo>
                      <a:cubicBezTo>
                        <a:pt x="116" y="209"/>
                        <a:pt x="88" y="189"/>
                        <a:pt x="76" y="160"/>
                      </a:cubicBezTo>
                      <a:cubicBezTo>
                        <a:pt x="64" y="135"/>
                        <a:pt x="67" y="105"/>
                        <a:pt x="86" y="82"/>
                      </a:cubicBezTo>
                      <a:cubicBezTo>
                        <a:pt x="89" y="78"/>
                        <a:pt x="92" y="75"/>
                        <a:pt x="96" y="72"/>
                      </a:cubicBezTo>
                      <a:cubicBezTo>
                        <a:pt x="110" y="59"/>
                        <a:pt x="129" y="51"/>
                        <a:pt x="149" y="51"/>
                      </a:cubicBezTo>
                      <a:cubicBezTo>
                        <a:pt x="193" y="51"/>
                        <a:pt x="228" y="86"/>
                        <a:pt x="228" y="130"/>
                      </a:cubicBezTo>
                      <a:cubicBezTo>
                        <a:pt x="228" y="174"/>
                        <a:pt x="193" y="209"/>
                        <a:pt x="149" y="209"/>
                      </a:cubicBezTo>
                      <a:close/>
                    </a:path>
                  </a:pathLst>
                </a:custGeom>
                <a:solidFill>
                  <a:srgbClr val="FBF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 name="Freeform 42"/>
                <p:cNvSpPr>
                  <a:spLocks/>
                </p:cNvSpPr>
                <p:nvPr/>
              </p:nvSpPr>
              <p:spPr bwMode="auto">
                <a:xfrm>
                  <a:off x="1325730" y="3299066"/>
                  <a:ext cx="511662" cy="493604"/>
                </a:xfrm>
                <a:custGeom>
                  <a:avLst/>
                  <a:gdLst>
                    <a:gd name="T0" fmla="*/ 14 w 164"/>
                    <a:gd name="T1" fmla="*/ 113 h 158"/>
                    <a:gd name="T2" fmla="*/ 12 w 164"/>
                    <a:gd name="T3" fmla="*/ 109 h 158"/>
                    <a:gd name="T4" fmla="*/ 85 w 164"/>
                    <a:gd name="T5" fmla="*/ 158 h 158"/>
                    <a:gd name="T6" fmla="*/ 164 w 164"/>
                    <a:gd name="T7" fmla="*/ 79 h 158"/>
                    <a:gd name="T8" fmla="*/ 85 w 164"/>
                    <a:gd name="T9" fmla="*/ 0 h 158"/>
                    <a:gd name="T10" fmla="*/ 32 w 164"/>
                    <a:gd name="T11" fmla="*/ 21 h 158"/>
                    <a:gd name="T12" fmla="*/ 32 w 164"/>
                    <a:gd name="T13" fmla="*/ 21 h 158"/>
                    <a:gd name="T14" fmla="*/ 22 w 164"/>
                    <a:gd name="T15" fmla="*/ 31 h 158"/>
                    <a:gd name="T16" fmla="*/ 12 w 164"/>
                    <a:gd name="T17" fmla="*/ 10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58">
                      <a:moveTo>
                        <a:pt x="14" y="113"/>
                      </a:moveTo>
                      <a:cubicBezTo>
                        <a:pt x="13" y="112"/>
                        <a:pt x="13" y="111"/>
                        <a:pt x="12" y="109"/>
                      </a:cubicBezTo>
                      <a:cubicBezTo>
                        <a:pt x="24" y="138"/>
                        <a:pt x="52" y="158"/>
                        <a:pt x="85" y="158"/>
                      </a:cubicBezTo>
                      <a:cubicBezTo>
                        <a:pt x="129" y="158"/>
                        <a:pt x="164" y="123"/>
                        <a:pt x="164" y="79"/>
                      </a:cubicBezTo>
                      <a:cubicBezTo>
                        <a:pt x="164" y="35"/>
                        <a:pt x="129" y="0"/>
                        <a:pt x="85" y="0"/>
                      </a:cubicBezTo>
                      <a:cubicBezTo>
                        <a:pt x="65" y="0"/>
                        <a:pt x="46" y="8"/>
                        <a:pt x="32" y="21"/>
                      </a:cubicBezTo>
                      <a:cubicBezTo>
                        <a:pt x="32" y="21"/>
                        <a:pt x="32" y="21"/>
                        <a:pt x="32" y="21"/>
                      </a:cubicBezTo>
                      <a:cubicBezTo>
                        <a:pt x="28" y="24"/>
                        <a:pt x="25" y="27"/>
                        <a:pt x="22" y="31"/>
                      </a:cubicBezTo>
                      <a:cubicBezTo>
                        <a:pt x="3" y="54"/>
                        <a:pt x="0" y="84"/>
                        <a:pt x="12" y="109"/>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70" name="Freeform 5"/>
              <p:cNvSpPr>
                <a:spLocks noEditPoints="1"/>
              </p:cNvSpPr>
              <p:nvPr/>
            </p:nvSpPr>
            <p:spPr bwMode="auto">
              <a:xfrm>
                <a:off x="10955678" y="3195474"/>
                <a:ext cx="317845" cy="340782"/>
              </a:xfrm>
              <a:custGeom>
                <a:avLst/>
                <a:gdLst>
                  <a:gd name="T0" fmla="*/ 39 w 79"/>
                  <a:gd name="T1" fmla="*/ 84 h 85"/>
                  <a:gd name="T2" fmla="*/ 10 w 79"/>
                  <a:gd name="T3" fmla="*/ 84 h 85"/>
                  <a:gd name="T4" fmla="*/ 5 w 79"/>
                  <a:gd name="T5" fmla="*/ 82 h 85"/>
                  <a:gd name="T6" fmla="*/ 4 w 79"/>
                  <a:gd name="T7" fmla="*/ 62 h 85"/>
                  <a:gd name="T8" fmla="*/ 22 w 79"/>
                  <a:gd name="T9" fmla="*/ 27 h 85"/>
                  <a:gd name="T10" fmla="*/ 24 w 79"/>
                  <a:gd name="T11" fmla="*/ 10 h 85"/>
                  <a:gd name="T12" fmla="*/ 22 w 79"/>
                  <a:gd name="T13" fmla="*/ 9 h 85"/>
                  <a:gd name="T14" fmla="*/ 19 w 79"/>
                  <a:gd name="T15" fmla="*/ 8 h 85"/>
                  <a:gd name="T16" fmla="*/ 19 w 79"/>
                  <a:gd name="T17" fmla="*/ 0 h 85"/>
                  <a:gd name="T18" fmla="*/ 21 w 79"/>
                  <a:gd name="T19" fmla="*/ 0 h 85"/>
                  <a:gd name="T20" fmla="*/ 57 w 79"/>
                  <a:gd name="T21" fmla="*/ 0 h 85"/>
                  <a:gd name="T22" fmla="*/ 60 w 79"/>
                  <a:gd name="T23" fmla="*/ 3 h 85"/>
                  <a:gd name="T24" fmla="*/ 60 w 79"/>
                  <a:gd name="T25" fmla="*/ 7 h 85"/>
                  <a:gd name="T26" fmla="*/ 57 w 79"/>
                  <a:gd name="T27" fmla="*/ 9 h 85"/>
                  <a:gd name="T28" fmla="*/ 55 w 79"/>
                  <a:gd name="T29" fmla="*/ 12 h 85"/>
                  <a:gd name="T30" fmla="*/ 60 w 79"/>
                  <a:gd name="T31" fmla="*/ 33 h 85"/>
                  <a:gd name="T32" fmla="*/ 78 w 79"/>
                  <a:gd name="T33" fmla="*/ 69 h 85"/>
                  <a:gd name="T34" fmla="*/ 77 w 79"/>
                  <a:gd name="T35" fmla="*/ 75 h 85"/>
                  <a:gd name="T36" fmla="*/ 62 w 79"/>
                  <a:gd name="T37" fmla="*/ 84 h 85"/>
                  <a:gd name="T38" fmla="*/ 39 w 79"/>
                  <a:gd name="T39" fmla="*/ 84 h 85"/>
                  <a:gd name="T40" fmla="*/ 34 w 79"/>
                  <a:gd name="T41" fmla="*/ 19 h 85"/>
                  <a:gd name="T42" fmla="*/ 30 w 79"/>
                  <a:gd name="T43" fmla="*/ 33 h 85"/>
                  <a:gd name="T44" fmla="*/ 11 w 79"/>
                  <a:gd name="T45" fmla="*/ 69 h 85"/>
                  <a:gd name="T46" fmla="*/ 14 w 79"/>
                  <a:gd name="T47" fmla="*/ 74 h 85"/>
                  <a:gd name="T48" fmla="*/ 18 w 79"/>
                  <a:gd name="T49" fmla="*/ 72 h 85"/>
                  <a:gd name="T50" fmla="*/ 31 w 79"/>
                  <a:gd name="T51" fmla="*/ 46 h 85"/>
                  <a:gd name="T52" fmla="*/ 47 w 79"/>
                  <a:gd name="T53" fmla="*/ 36 h 85"/>
                  <a:gd name="T54" fmla="*/ 49 w 79"/>
                  <a:gd name="T55" fmla="*/ 33 h 85"/>
                  <a:gd name="T56" fmla="*/ 45 w 79"/>
                  <a:gd name="T57" fmla="*/ 17 h 85"/>
                  <a:gd name="T58" fmla="*/ 46 w 79"/>
                  <a:gd name="T59" fmla="*/ 12 h 85"/>
                  <a:gd name="T60" fmla="*/ 43 w 79"/>
                  <a:gd name="T61" fmla="*/ 9 h 85"/>
                  <a:gd name="T62" fmla="*/ 34 w 79"/>
                  <a:gd name="T63" fmla="*/ 1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9" h="85">
                    <a:moveTo>
                      <a:pt x="39" y="84"/>
                    </a:moveTo>
                    <a:cubicBezTo>
                      <a:pt x="30" y="84"/>
                      <a:pt x="20" y="84"/>
                      <a:pt x="10" y="84"/>
                    </a:cubicBezTo>
                    <a:cubicBezTo>
                      <a:pt x="8" y="84"/>
                      <a:pt x="7" y="83"/>
                      <a:pt x="5" y="82"/>
                    </a:cubicBezTo>
                    <a:cubicBezTo>
                      <a:pt x="0" y="75"/>
                      <a:pt x="0" y="69"/>
                      <a:pt x="4" y="62"/>
                    </a:cubicBezTo>
                    <a:cubicBezTo>
                      <a:pt x="11" y="51"/>
                      <a:pt x="17" y="39"/>
                      <a:pt x="22" y="27"/>
                    </a:cubicBezTo>
                    <a:cubicBezTo>
                      <a:pt x="25" y="21"/>
                      <a:pt x="23" y="16"/>
                      <a:pt x="24" y="10"/>
                    </a:cubicBezTo>
                    <a:cubicBezTo>
                      <a:pt x="24" y="9"/>
                      <a:pt x="23" y="9"/>
                      <a:pt x="22" y="9"/>
                    </a:cubicBezTo>
                    <a:cubicBezTo>
                      <a:pt x="21" y="9"/>
                      <a:pt x="19" y="10"/>
                      <a:pt x="19" y="8"/>
                    </a:cubicBezTo>
                    <a:cubicBezTo>
                      <a:pt x="19" y="6"/>
                      <a:pt x="19" y="3"/>
                      <a:pt x="19" y="0"/>
                    </a:cubicBezTo>
                    <a:cubicBezTo>
                      <a:pt x="19" y="0"/>
                      <a:pt x="21" y="0"/>
                      <a:pt x="21" y="0"/>
                    </a:cubicBezTo>
                    <a:cubicBezTo>
                      <a:pt x="33" y="0"/>
                      <a:pt x="45" y="0"/>
                      <a:pt x="57" y="0"/>
                    </a:cubicBezTo>
                    <a:cubicBezTo>
                      <a:pt x="59" y="0"/>
                      <a:pt x="60" y="1"/>
                      <a:pt x="60" y="3"/>
                    </a:cubicBezTo>
                    <a:cubicBezTo>
                      <a:pt x="60" y="4"/>
                      <a:pt x="60" y="5"/>
                      <a:pt x="60" y="7"/>
                    </a:cubicBezTo>
                    <a:cubicBezTo>
                      <a:pt x="60" y="9"/>
                      <a:pt x="60" y="10"/>
                      <a:pt x="57" y="9"/>
                    </a:cubicBezTo>
                    <a:cubicBezTo>
                      <a:pt x="55" y="9"/>
                      <a:pt x="55" y="10"/>
                      <a:pt x="55" y="12"/>
                    </a:cubicBezTo>
                    <a:cubicBezTo>
                      <a:pt x="54" y="20"/>
                      <a:pt x="56" y="26"/>
                      <a:pt x="60" y="33"/>
                    </a:cubicBezTo>
                    <a:cubicBezTo>
                      <a:pt x="66" y="45"/>
                      <a:pt x="72" y="57"/>
                      <a:pt x="78" y="69"/>
                    </a:cubicBezTo>
                    <a:cubicBezTo>
                      <a:pt x="79" y="71"/>
                      <a:pt x="78" y="73"/>
                      <a:pt x="77" y="75"/>
                    </a:cubicBezTo>
                    <a:cubicBezTo>
                      <a:pt x="74" y="83"/>
                      <a:pt x="69" y="85"/>
                      <a:pt x="62" y="84"/>
                    </a:cubicBezTo>
                    <a:cubicBezTo>
                      <a:pt x="54" y="84"/>
                      <a:pt x="47" y="84"/>
                      <a:pt x="39" y="84"/>
                    </a:cubicBezTo>
                    <a:close/>
                    <a:moveTo>
                      <a:pt x="34" y="19"/>
                    </a:moveTo>
                    <a:cubicBezTo>
                      <a:pt x="35" y="24"/>
                      <a:pt x="33" y="28"/>
                      <a:pt x="30" y="33"/>
                    </a:cubicBezTo>
                    <a:cubicBezTo>
                      <a:pt x="24" y="45"/>
                      <a:pt x="17" y="57"/>
                      <a:pt x="11" y="69"/>
                    </a:cubicBezTo>
                    <a:cubicBezTo>
                      <a:pt x="9" y="72"/>
                      <a:pt x="10" y="74"/>
                      <a:pt x="14" y="74"/>
                    </a:cubicBezTo>
                    <a:cubicBezTo>
                      <a:pt x="16" y="74"/>
                      <a:pt x="17" y="74"/>
                      <a:pt x="18" y="72"/>
                    </a:cubicBezTo>
                    <a:cubicBezTo>
                      <a:pt x="22" y="63"/>
                      <a:pt x="27" y="55"/>
                      <a:pt x="31" y="46"/>
                    </a:cubicBezTo>
                    <a:cubicBezTo>
                      <a:pt x="34" y="38"/>
                      <a:pt x="38" y="34"/>
                      <a:pt x="47" y="36"/>
                    </a:cubicBezTo>
                    <a:cubicBezTo>
                      <a:pt x="50" y="36"/>
                      <a:pt x="50" y="35"/>
                      <a:pt x="49" y="33"/>
                    </a:cubicBezTo>
                    <a:cubicBezTo>
                      <a:pt x="46" y="28"/>
                      <a:pt x="45" y="23"/>
                      <a:pt x="45" y="17"/>
                    </a:cubicBezTo>
                    <a:cubicBezTo>
                      <a:pt x="46" y="16"/>
                      <a:pt x="45" y="14"/>
                      <a:pt x="46" y="12"/>
                    </a:cubicBezTo>
                    <a:cubicBezTo>
                      <a:pt x="46" y="10"/>
                      <a:pt x="45" y="10"/>
                      <a:pt x="43" y="9"/>
                    </a:cubicBezTo>
                    <a:cubicBezTo>
                      <a:pt x="34" y="9"/>
                      <a:pt x="34" y="9"/>
                      <a:pt x="34" y="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6" name="Group 5"/>
          <p:cNvGrpSpPr/>
          <p:nvPr/>
        </p:nvGrpSpPr>
        <p:grpSpPr>
          <a:xfrm>
            <a:off x="286494" y="4327635"/>
            <a:ext cx="2198407" cy="1579450"/>
            <a:chOff x="301362" y="4327635"/>
            <a:chExt cx="2198407" cy="1579450"/>
          </a:xfrm>
        </p:grpSpPr>
        <p:sp>
          <p:nvSpPr>
            <p:cNvPr id="22" name="TextBox 21"/>
            <p:cNvSpPr txBox="1"/>
            <p:nvPr/>
          </p:nvSpPr>
          <p:spPr>
            <a:xfrm>
              <a:off x="301362" y="4327635"/>
              <a:ext cx="2198407" cy="849463"/>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Bing Spell Check API</a:t>
              </a:r>
            </a:p>
          </p:txBody>
        </p:sp>
        <p:sp>
          <p:nvSpPr>
            <p:cNvPr id="23" name="Rectangle 22"/>
            <p:cNvSpPr/>
            <p:nvPr/>
          </p:nvSpPr>
          <p:spPr>
            <a:xfrm>
              <a:off x="301362" y="5108405"/>
              <a:ext cx="2198407" cy="798680"/>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Detect and correct spelling mistakes within your app</a:t>
              </a:r>
            </a:p>
          </p:txBody>
        </p:sp>
      </p:grpSp>
      <p:grpSp>
        <p:nvGrpSpPr>
          <p:cNvPr id="9" name="Group 8"/>
          <p:cNvGrpSpPr/>
          <p:nvPr/>
        </p:nvGrpSpPr>
        <p:grpSpPr>
          <a:xfrm>
            <a:off x="6862483" y="4327634"/>
            <a:ext cx="3540557" cy="1814900"/>
            <a:chOff x="6884785" y="4327634"/>
            <a:chExt cx="3540557" cy="1814900"/>
          </a:xfrm>
        </p:grpSpPr>
        <p:sp>
          <p:nvSpPr>
            <p:cNvPr id="24" name="TextBox 23"/>
            <p:cNvSpPr txBox="1"/>
            <p:nvPr/>
          </p:nvSpPr>
          <p:spPr>
            <a:xfrm>
              <a:off x="6884785" y="4327634"/>
              <a:ext cx="3540557" cy="849463"/>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Language Understanding Intelligent Service</a:t>
              </a:r>
            </a:p>
          </p:txBody>
        </p:sp>
        <p:sp>
          <p:nvSpPr>
            <p:cNvPr id="25" name="Rectangle 24"/>
            <p:cNvSpPr/>
            <p:nvPr/>
          </p:nvSpPr>
          <p:spPr>
            <a:xfrm>
              <a:off x="7555860" y="5108405"/>
              <a:ext cx="2198407" cy="1034129"/>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Teach your apps to understand commands from your users</a:t>
              </a:r>
            </a:p>
          </p:txBody>
        </p:sp>
      </p:grpSp>
      <p:grpSp>
        <p:nvGrpSpPr>
          <p:cNvPr id="7" name="Group 6"/>
          <p:cNvGrpSpPr/>
          <p:nvPr/>
        </p:nvGrpSpPr>
        <p:grpSpPr>
          <a:xfrm>
            <a:off x="2475275" y="4327635"/>
            <a:ext cx="2660073" cy="1814899"/>
            <a:chOff x="2490143" y="4327635"/>
            <a:chExt cx="2660073" cy="1814899"/>
          </a:xfrm>
        </p:grpSpPr>
        <p:sp>
          <p:nvSpPr>
            <p:cNvPr id="26" name="TextBox 25"/>
            <p:cNvSpPr txBox="1"/>
            <p:nvPr/>
          </p:nvSpPr>
          <p:spPr>
            <a:xfrm>
              <a:off x="2490143" y="4327635"/>
              <a:ext cx="2660073" cy="849463"/>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Web Language Model API</a:t>
              </a:r>
            </a:p>
          </p:txBody>
        </p:sp>
        <p:sp>
          <p:nvSpPr>
            <p:cNvPr id="27" name="Rectangle 26"/>
            <p:cNvSpPr/>
            <p:nvPr/>
          </p:nvSpPr>
          <p:spPr>
            <a:xfrm>
              <a:off x="2720976" y="5108405"/>
              <a:ext cx="2198407" cy="1034129"/>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Leverage the power of language models trained on web-scale data</a:t>
              </a:r>
            </a:p>
          </p:txBody>
        </p:sp>
      </p:grpSp>
      <p:grpSp>
        <p:nvGrpSpPr>
          <p:cNvPr id="8" name="Group 7"/>
          <p:cNvGrpSpPr/>
          <p:nvPr/>
        </p:nvGrpSpPr>
        <p:grpSpPr>
          <a:xfrm>
            <a:off x="5009113" y="4327635"/>
            <a:ext cx="2418248" cy="1579450"/>
            <a:chOff x="5009113" y="4327635"/>
            <a:chExt cx="2418248" cy="1579450"/>
          </a:xfrm>
        </p:grpSpPr>
        <p:sp>
          <p:nvSpPr>
            <p:cNvPr id="28" name="TextBox 27"/>
            <p:cNvSpPr txBox="1"/>
            <p:nvPr/>
          </p:nvSpPr>
          <p:spPr>
            <a:xfrm>
              <a:off x="5009113" y="4327635"/>
              <a:ext cx="2418248" cy="849463"/>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Linguistic Analysis API</a:t>
              </a:r>
            </a:p>
          </p:txBody>
        </p:sp>
        <p:sp>
          <p:nvSpPr>
            <p:cNvPr id="29" name="Rectangle 28"/>
            <p:cNvSpPr/>
            <p:nvPr/>
          </p:nvSpPr>
          <p:spPr>
            <a:xfrm>
              <a:off x="5119034" y="5108405"/>
              <a:ext cx="2198407" cy="798680"/>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Easily parse complex text with language analysis</a:t>
              </a:r>
            </a:p>
          </p:txBody>
        </p:sp>
      </p:grpSp>
      <p:grpSp>
        <p:nvGrpSpPr>
          <p:cNvPr id="10" name="Group 9"/>
          <p:cNvGrpSpPr/>
          <p:nvPr/>
        </p:nvGrpSpPr>
        <p:grpSpPr>
          <a:xfrm>
            <a:off x="9956726" y="4327632"/>
            <a:ext cx="2198407" cy="1814900"/>
            <a:chOff x="9971594" y="4327632"/>
            <a:chExt cx="2198407" cy="1814900"/>
          </a:xfrm>
        </p:grpSpPr>
        <p:sp>
          <p:nvSpPr>
            <p:cNvPr id="30" name="TextBox 29"/>
            <p:cNvSpPr txBox="1"/>
            <p:nvPr/>
          </p:nvSpPr>
          <p:spPr>
            <a:xfrm>
              <a:off x="10071521" y="4327632"/>
              <a:ext cx="1998552" cy="849463"/>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Text Analytics API</a:t>
              </a:r>
            </a:p>
          </p:txBody>
        </p:sp>
        <p:sp>
          <p:nvSpPr>
            <p:cNvPr id="31" name="Rectangle 30"/>
            <p:cNvSpPr/>
            <p:nvPr/>
          </p:nvSpPr>
          <p:spPr>
            <a:xfrm>
              <a:off x="9971594" y="5108403"/>
              <a:ext cx="2198407" cy="1034129"/>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Detect sentiment, key phrases, topics, and language from your text</a:t>
              </a:r>
            </a:p>
          </p:txBody>
        </p:sp>
      </p:grpSp>
      <p:grpSp>
        <p:nvGrpSpPr>
          <p:cNvPr id="32" name="Group 31"/>
          <p:cNvGrpSpPr/>
          <p:nvPr/>
        </p:nvGrpSpPr>
        <p:grpSpPr>
          <a:xfrm>
            <a:off x="585599" y="2704730"/>
            <a:ext cx="1600200" cy="1600200"/>
            <a:chOff x="600467" y="2704730"/>
            <a:chExt cx="1600200" cy="1600200"/>
          </a:xfrm>
        </p:grpSpPr>
        <p:sp>
          <p:nvSpPr>
            <p:cNvPr id="33" name="Rectangle 32"/>
            <p:cNvSpPr/>
            <p:nvPr/>
          </p:nvSpPr>
          <p:spPr>
            <a:xfrm>
              <a:off x="600467"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34" name="Group 33"/>
            <p:cNvGrpSpPr/>
            <p:nvPr/>
          </p:nvGrpSpPr>
          <p:grpSpPr>
            <a:xfrm>
              <a:off x="903817" y="2901006"/>
              <a:ext cx="993502" cy="1207648"/>
              <a:chOff x="974684" y="2987148"/>
              <a:chExt cx="851767" cy="1035364"/>
            </a:xfrm>
          </p:grpSpPr>
          <p:grpSp>
            <p:nvGrpSpPr>
              <p:cNvPr id="35" name="Group 34"/>
              <p:cNvGrpSpPr/>
              <p:nvPr/>
            </p:nvGrpSpPr>
            <p:grpSpPr>
              <a:xfrm>
                <a:off x="974684" y="2987148"/>
                <a:ext cx="851767" cy="1035364"/>
                <a:chOff x="5602448" y="3120325"/>
                <a:chExt cx="498764" cy="606272"/>
              </a:xfrm>
            </p:grpSpPr>
            <p:sp>
              <p:nvSpPr>
                <p:cNvPr id="37" name="Freeform 41"/>
                <p:cNvSpPr>
                  <a:spLocks noEditPoints="1"/>
                </p:cNvSpPr>
                <p:nvPr/>
              </p:nvSpPr>
              <p:spPr bwMode="auto">
                <a:xfrm>
                  <a:off x="5602448" y="3120325"/>
                  <a:ext cx="498764" cy="606272"/>
                </a:xfrm>
                <a:custGeom>
                  <a:avLst/>
                  <a:gdLst>
                    <a:gd name="T0" fmla="*/ 237 w 273"/>
                    <a:gd name="T1" fmla="*/ 54 h 332"/>
                    <a:gd name="T2" fmla="*/ 54 w 273"/>
                    <a:gd name="T3" fmla="*/ 58 h 332"/>
                    <a:gd name="T4" fmla="*/ 55 w 273"/>
                    <a:gd name="T5" fmla="*/ 203 h 332"/>
                    <a:gd name="T6" fmla="*/ 98 w 273"/>
                    <a:gd name="T7" fmla="*/ 235 h 332"/>
                    <a:gd name="T8" fmla="*/ 63 w 273"/>
                    <a:gd name="T9" fmla="*/ 261 h 332"/>
                    <a:gd name="T10" fmla="*/ 15 w 273"/>
                    <a:gd name="T11" fmla="*/ 281 h 332"/>
                    <a:gd name="T12" fmla="*/ 6 w 273"/>
                    <a:gd name="T13" fmla="*/ 315 h 332"/>
                    <a:gd name="T14" fmla="*/ 20 w 273"/>
                    <a:gd name="T15" fmla="*/ 322 h 332"/>
                    <a:gd name="T16" fmla="*/ 216 w 273"/>
                    <a:gd name="T17" fmla="*/ 250 h 332"/>
                    <a:gd name="T18" fmla="*/ 258 w 273"/>
                    <a:gd name="T19" fmla="*/ 182 h 332"/>
                    <a:gd name="T20" fmla="*/ 237 w 273"/>
                    <a:gd name="T21" fmla="*/ 54 h 332"/>
                    <a:gd name="T22" fmla="*/ 149 w 273"/>
                    <a:gd name="T23" fmla="*/ 209 h 332"/>
                    <a:gd name="T24" fmla="*/ 76 w 273"/>
                    <a:gd name="T25" fmla="*/ 160 h 332"/>
                    <a:gd name="T26" fmla="*/ 86 w 273"/>
                    <a:gd name="T27" fmla="*/ 82 h 332"/>
                    <a:gd name="T28" fmla="*/ 96 w 273"/>
                    <a:gd name="T29" fmla="*/ 72 h 332"/>
                    <a:gd name="T30" fmla="*/ 149 w 273"/>
                    <a:gd name="T31" fmla="*/ 51 h 332"/>
                    <a:gd name="T32" fmla="*/ 228 w 273"/>
                    <a:gd name="T33" fmla="*/ 130 h 332"/>
                    <a:gd name="T34" fmla="*/ 149 w 273"/>
                    <a:gd name="T35" fmla="*/ 20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3" h="332">
                      <a:moveTo>
                        <a:pt x="237" y="54"/>
                      </a:moveTo>
                      <a:cubicBezTo>
                        <a:pt x="189" y="0"/>
                        <a:pt x="101" y="2"/>
                        <a:pt x="54" y="58"/>
                      </a:cubicBezTo>
                      <a:cubicBezTo>
                        <a:pt x="19" y="100"/>
                        <a:pt x="19" y="161"/>
                        <a:pt x="55" y="203"/>
                      </a:cubicBezTo>
                      <a:cubicBezTo>
                        <a:pt x="67" y="217"/>
                        <a:pt x="81" y="226"/>
                        <a:pt x="98" y="235"/>
                      </a:cubicBezTo>
                      <a:cubicBezTo>
                        <a:pt x="87" y="248"/>
                        <a:pt x="76" y="256"/>
                        <a:pt x="63" y="261"/>
                      </a:cubicBezTo>
                      <a:cubicBezTo>
                        <a:pt x="47" y="268"/>
                        <a:pt x="31" y="274"/>
                        <a:pt x="15" y="281"/>
                      </a:cubicBezTo>
                      <a:cubicBezTo>
                        <a:pt x="0" y="287"/>
                        <a:pt x="7" y="303"/>
                        <a:pt x="6" y="315"/>
                      </a:cubicBezTo>
                      <a:cubicBezTo>
                        <a:pt x="5" y="324"/>
                        <a:pt x="14" y="321"/>
                        <a:pt x="20" y="322"/>
                      </a:cubicBezTo>
                      <a:cubicBezTo>
                        <a:pt x="95" y="332"/>
                        <a:pt x="159" y="304"/>
                        <a:pt x="216" y="250"/>
                      </a:cubicBezTo>
                      <a:cubicBezTo>
                        <a:pt x="235" y="232"/>
                        <a:pt x="250" y="209"/>
                        <a:pt x="258" y="182"/>
                      </a:cubicBezTo>
                      <a:cubicBezTo>
                        <a:pt x="273" y="135"/>
                        <a:pt x="270" y="91"/>
                        <a:pt x="237" y="54"/>
                      </a:cubicBezTo>
                      <a:close/>
                      <a:moveTo>
                        <a:pt x="149" y="209"/>
                      </a:moveTo>
                      <a:cubicBezTo>
                        <a:pt x="116" y="209"/>
                        <a:pt x="88" y="189"/>
                        <a:pt x="76" y="160"/>
                      </a:cubicBezTo>
                      <a:cubicBezTo>
                        <a:pt x="64" y="135"/>
                        <a:pt x="67" y="105"/>
                        <a:pt x="86" y="82"/>
                      </a:cubicBezTo>
                      <a:cubicBezTo>
                        <a:pt x="89" y="78"/>
                        <a:pt x="92" y="75"/>
                        <a:pt x="96" y="72"/>
                      </a:cubicBezTo>
                      <a:cubicBezTo>
                        <a:pt x="110" y="59"/>
                        <a:pt x="129" y="51"/>
                        <a:pt x="149" y="51"/>
                      </a:cubicBezTo>
                      <a:cubicBezTo>
                        <a:pt x="193" y="51"/>
                        <a:pt x="228" y="86"/>
                        <a:pt x="228" y="130"/>
                      </a:cubicBezTo>
                      <a:cubicBezTo>
                        <a:pt x="228" y="174"/>
                        <a:pt x="193" y="209"/>
                        <a:pt x="149" y="209"/>
                      </a:cubicBezTo>
                      <a:close/>
                    </a:path>
                  </a:pathLst>
                </a:custGeom>
                <a:solidFill>
                  <a:srgbClr val="FBF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8" name="Freeform 42"/>
                <p:cNvSpPr>
                  <a:spLocks/>
                </p:cNvSpPr>
                <p:nvPr/>
              </p:nvSpPr>
              <p:spPr bwMode="auto">
                <a:xfrm>
                  <a:off x="5718768" y="3213733"/>
                  <a:ext cx="299611" cy="289037"/>
                </a:xfrm>
                <a:custGeom>
                  <a:avLst/>
                  <a:gdLst>
                    <a:gd name="T0" fmla="*/ 14 w 164"/>
                    <a:gd name="T1" fmla="*/ 113 h 158"/>
                    <a:gd name="T2" fmla="*/ 12 w 164"/>
                    <a:gd name="T3" fmla="*/ 109 h 158"/>
                    <a:gd name="T4" fmla="*/ 85 w 164"/>
                    <a:gd name="T5" fmla="*/ 158 h 158"/>
                    <a:gd name="T6" fmla="*/ 164 w 164"/>
                    <a:gd name="T7" fmla="*/ 79 h 158"/>
                    <a:gd name="T8" fmla="*/ 85 w 164"/>
                    <a:gd name="T9" fmla="*/ 0 h 158"/>
                    <a:gd name="T10" fmla="*/ 32 w 164"/>
                    <a:gd name="T11" fmla="*/ 21 h 158"/>
                    <a:gd name="T12" fmla="*/ 32 w 164"/>
                    <a:gd name="T13" fmla="*/ 21 h 158"/>
                    <a:gd name="T14" fmla="*/ 22 w 164"/>
                    <a:gd name="T15" fmla="*/ 31 h 158"/>
                    <a:gd name="T16" fmla="*/ 12 w 164"/>
                    <a:gd name="T17" fmla="*/ 10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58">
                      <a:moveTo>
                        <a:pt x="14" y="113"/>
                      </a:moveTo>
                      <a:cubicBezTo>
                        <a:pt x="13" y="112"/>
                        <a:pt x="13" y="111"/>
                        <a:pt x="12" y="109"/>
                      </a:cubicBezTo>
                      <a:cubicBezTo>
                        <a:pt x="24" y="138"/>
                        <a:pt x="52" y="158"/>
                        <a:pt x="85" y="158"/>
                      </a:cubicBezTo>
                      <a:cubicBezTo>
                        <a:pt x="129" y="158"/>
                        <a:pt x="164" y="123"/>
                        <a:pt x="164" y="79"/>
                      </a:cubicBezTo>
                      <a:cubicBezTo>
                        <a:pt x="164" y="35"/>
                        <a:pt x="129" y="0"/>
                        <a:pt x="85" y="0"/>
                      </a:cubicBezTo>
                      <a:cubicBezTo>
                        <a:pt x="65" y="0"/>
                        <a:pt x="46" y="8"/>
                        <a:pt x="32" y="21"/>
                      </a:cubicBezTo>
                      <a:cubicBezTo>
                        <a:pt x="32" y="21"/>
                        <a:pt x="32" y="21"/>
                        <a:pt x="32" y="21"/>
                      </a:cubicBezTo>
                      <a:cubicBezTo>
                        <a:pt x="28" y="24"/>
                        <a:pt x="25" y="27"/>
                        <a:pt x="22" y="31"/>
                      </a:cubicBezTo>
                      <a:cubicBezTo>
                        <a:pt x="3" y="54"/>
                        <a:pt x="0" y="84"/>
                        <a:pt x="12" y="109"/>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36" name="Picture 35"/>
              <p:cNvPicPr>
                <a:picLocks noChangeAspect="1"/>
              </p:cNvPicPr>
              <p:nvPr/>
            </p:nvPicPr>
            <p:blipFill rotWithShape="1">
              <a:blip r:embed="rId3"/>
              <a:srcRect l="21147" t="20016" r="22901" b="33981"/>
              <a:stretch/>
            </p:blipFill>
            <p:spPr>
              <a:xfrm>
                <a:off x="1173329" y="3146666"/>
                <a:ext cx="511663" cy="493602"/>
              </a:xfrm>
              <a:prstGeom prst="rect">
                <a:avLst/>
              </a:prstGeom>
            </p:spPr>
          </p:pic>
        </p:grpSp>
      </p:grpSp>
      <p:grpSp>
        <p:nvGrpSpPr>
          <p:cNvPr id="39" name="Group 38"/>
          <p:cNvGrpSpPr/>
          <p:nvPr/>
        </p:nvGrpSpPr>
        <p:grpSpPr>
          <a:xfrm>
            <a:off x="3003157" y="2704730"/>
            <a:ext cx="1600200" cy="1600200"/>
            <a:chOff x="3018025" y="2704730"/>
            <a:chExt cx="1600200" cy="1600200"/>
          </a:xfrm>
        </p:grpSpPr>
        <p:sp>
          <p:nvSpPr>
            <p:cNvPr id="40" name="Rectangle 39"/>
            <p:cNvSpPr/>
            <p:nvPr/>
          </p:nvSpPr>
          <p:spPr>
            <a:xfrm>
              <a:off x="3018025"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41" name="Group 40"/>
            <p:cNvGrpSpPr/>
            <p:nvPr/>
          </p:nvGrpSpPr>
          <p:grpSpPr>
            <a:xfrm>
              <a:off x="3321375" y="2901006"/>
              <a:ext cx="993502" cy="1207648"/>
              <a:chOff x="3321375" y="2901006"/>
              <a:chExt cx="993502" cy="1207648"/>
            </a:xfrm>
          </p:grpSpPr>
          <p:grpSp>
            <p:nvGrpSpPr>
              <p:cNvPr id="42" name="Group 41"/>
              <p:cNvGrpSpPr/>
              <p:nvPr/>
            </p:nvGrpSpPr>
            <p:grpSpPr>
              <a:xfrm>
                <a:off x="3321375" y="2901006"/>
                <a:ext cx="993502" cy="1207648"/>
                <a:chOff x="1127084" y="3139548"/>
                <a:chExt cx="851767" cy="1035364"/>
              </a:xfrm>
            </p:grpSpPr>
            <p:sp>
              <p:nvSpPr>
                <p:cNvPr id="44" name="Freeform 41"/>
                <p:cNvSpPr>
                  <a:spLocks noEditPoints="1"/>
                </p:cNvSpPr>
                <p:nvPr/>
              </p:nvSpPr>
              <p:spPr bwMode="auto">
                <a:xfrm>
                  <a:off x="1127084" y="3139548"/>
                  <a:ext cx="851767" cy="1035364"/>
                </a:xfrm>
                <a:custGeom>
                  <a:avLst/>
                  <a:gdLst>
                    <a:gd name="T0" fmla="*/ 237 w 273"/>
                    <a:gd name="T1" fmla="*/ 54 h 332"/>
                    <a:gd name="T2" fmla="*/ 54 w 273"/>
                    <a:gd name="T3" fmla="*/ 58 h 332"/>
                    <a:gd name="T4" fmla="*/ 55 w 273"/>
                    <a:gd name="T5" fmla="*/ 203 h 332"/>
                    <a:gd name="T6" fmla="*/ 98 w 273"/>
                    <a:gd name="T7" fmla="*/ 235 h 332"/>
                    <a:gd name="T8" fmla="*/ 63 w 273"/>
                    <a:gd name="T9" fmla="*/ 261 h 332"/>
                    <a:gd name="T10" fmla="*/ 15 w 273"/>
                    <a:gd name="T11" fmla="*/ 281 h 332"/>
                    <a:gd name="T12" fmla="*/ 6 w 273"/>
                    <a:gd name="T13" fmla="*/ 315 h 332"/>
                    <a:gd name="T14" fmla="*/ 20 w 273"/>
                    <a:gd name="T15" fmla="*/ 322 h 332"/>
                    <a:gd name="T16" fmla="*/ 216 w 273"/>
                    <a:gd name="T17" fmla="*/ 250 h 332"/>
                    <a:gd name="T18" fmla="*/ 258 w 273"/>
                    <a:gd name="T19" fmla="*/ 182 h 332"/>
                    <a:gd name="T20" fmla="*/ 237 w 273"/>
                    <a:gd name="T21" fmla="*/ 54 h 332"/>
                    <a:gd name="T22" fmla="*/ 149 w 273"/>
                    <a:gd name="T23" fmla="*/ 209 h 332"/>
                    <a:gd name="T24" fmla="*/ 76 w 273"/>
                    <a:gd name="T25" fmla="*/ 160 h 332"/>
                    <a:gd name="T26" fmla="*/ 86 w 273"/>
                    <a:gd name="T27" fmla="*/ 82 h 332"/>
                    <a:gd name="T28" fmla="*/ 96 w 273"/>
                    <a:gd name="T29" fmla="*/ 72 h 332"/>
                    <a:gd name="T30" fmla="*/ 149 w 273"/>
                    <a:gd name="T31" fmla="*/ 51 h 332"/>
                    <a:gd name="T32" fmla="*/ 228 w 273"/>
                    <a:gd name="T33" fmla="*/ 130 h 332"/>
                    <a:gd name="T34" fmla="*/ 149 w 273"/>
                    <a:gd name="T35" fmla="*/ 20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3" h="332">
                      <a:moveTo>
                        <a:pt x="237" y="54"/>
                      </a:moveTo>
                      <a:cubicBezTo>
                        <a:pt x="189" y="0"/>
                        <a:pt x="101" y="2"/>
                        <a:pt x="54" y="58"/>
                      </a:cubicBezTo>
                      <a:cubicBezTo>
                        <a:pt x="19" y="100"/>
                        <a:pt x="19" y="161"/>
                        <a:pt x="55" y="203"/>
                      </a:cubicBezTo>
                      <a:cubicBezTo>
                        <a:pt x="67" y="217"/>
                        <a:pt x="81" y="226"/>
                        <a:pt x="98" y="235"/>
                      </a:cubicBezTo>
                      <a:cubicBezTo>
                        <a:pt x="87" y="248"/>
                        <a:pt x="76" y="256"/>
                        <a:pt x="63" y="261"/>
                      </a:cubicBezTo>
                      <a:cubicBezTo>
                        <a:pt x="47" y="268"/>
                        <a:pt x="31" y="274"/>
                        <a:pt x="15" y="281"/>
                      </a:cubicBezTo>
                      <a:cubicBezTo>
                        <a:pt x="0" y="287"/>
                        <a:pt x="7" y="303"/>
                        <a:pt x="6" y="315"/>
                      </a:cubicBezTo>
                      <a:cubicBezTo>
                        <a:pt x="5" y="324"/>
                        <a:pt x="14" y="321"/>
                        <a:pt x="20" y="322"/>
                      </a:cubicBezTo>
                      <a:cubicBezTo>
                        <a:pt x="95" y="332"/>
                        <a:pt x="159" y="304"/>
                        <a:pt x="216" y="250"/>
                      </a:cubicBezTo>
                      <a:cubicBezTo>
                        <a:pt x="235" y="232"/>
                        <a:pt x="250" y="209"/>
                        <a:pt x="258" y="182"/>
                      </a:cubicBezTo>
                      <a:cubicBezTo>
                        <a:pt x="273" y="135"/>
                        <a:pt x="270" y="91"/>
                        <a:pt x="237" y="54"/>
                      </a:cubicBezTo>
                      <a:close/>
                      <a:moveTo>
                        <a:pt x="149" y="209"/>
                      </a:moveTo>
                      <a:cubicBezTo>
                        <a:pt x="116" y="209"/>
                        <a:pt x="88" y="189"/>
                        <a:pt x="76" y="160"/>
                      </a:cubicBezTo>
                      <a:cubicBezTo>
                        <a:pt x="64" y="135"/>
                        <a:pt x="67" y="105"/>
                        <a:pt x="86" y="82"/>
                      </a:cubicBezTo>
                      <a:cubicBezTo>
                        <a:pt x="89" y="78"/>
                        <a:pt x="92" y="75"/>
                        <a:pt x="96" y="72"/>
                      </a:cubicBezTo>
                      <a:cubicBezTo>
                        <a:pt x="110" y="59"/>
                        <a:pt x="129" y="51"/>
                        <a:pt x="149" y="51"/>
                      </a:cubicBezTo>
                      <a:cubicBezTo>
                        <a:pt x="193" y="51"/>
                        <a:pt x="228" y="86"/>
                        <a:pt x="228" y="130"/>
                      </a:cubicBezTo>
                      <a:cubicBezTo>
                        <a:pt x="228" y="174"/>
                        <a:pt x="193" y="209"/>
                        <a:pt x="149" y="209"/>
                      </a:cubicBezTo>
                      <a:close/>
                    </a:path>
                  </a:pathLst>
                </a:custGeom>
                <a:solidFill>
                  <a:srgbClr val="FBF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8" name="Freeform 42"/>
                <p:cNvSpPr>
                  <a:spLocks/>
                </p:cNvSpPr>
                <p:nvPr/>
              </p:nvSpPr>
              <p:spPr bwMode="auto">
                <a:xfrm>
                  <a:off x="1325730" y="3299066"/>
                  <a:ext cx="511662" cy="493604"/>
                </a:xfrm>
                <a:custGeom>
                  <a:avLst/>
                  <a:gdLst>
                    <a:gd name="T0" fmla="*/ 14 w 164"/>
                    <a:gd name="T1" fmla="*/ 113 h 158"/>
                    <a:gd name="T2" fmla="*/ 12 w 164"/>
                    <a:gd name="T3" fmla="*/ 109 h 158"/>
                    <a:gd name="T4" fmla="*/ 85 w 164"/>
                    <a:gd name="T5" fmla="*/ 158 h 158"/>
                    <a:gd name="T6" fmla="*/ 164 w 164"/>
                    <a:gd name="T7" fmla="*/ 79 h 158"/>
                    <a:gd name="T8" fmla="*/ 85 w 164"/>
                    <a:gd name="T9" fmla="*/ 0 h 158"/>
                    <a:gd name="T10" fmla="*/ 32 w 164"/>
                    <a:gd name="T11" fmla="*/ 21 h 158"/>
                    <a:gd name="T12" fmla="*/ 32 w 164"/>
                    <a:gd name="T13" fmla="*/ 21 h 158"/>
                    <a:gd name="T14" fmla="*/ 22 w 164"/>
                    <a:gd name="T15" fmla="*/ 31 h 158"/>
                    <a:gd name="T16" fmla="*/ 12 w 164"/>
                    <a:gd name="T17" fmla="*/ 10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58">
                      <a:moveTo>
                        <a:pt x="14" y="113"/>
                      </a:moveTo>
                      <a:cubicBezTo>
                        <a:pt x="13" y="112"/>
                        <a:pt x="13" y="111"/>
                        <a:pt x="12" y="109"/>
                      </a:cubicBezTo>
                      <a:cubicBezTo>
                        <a:pt x="24" y="138"/>
                        <a:pt x="52" y="158"/>
                        <a:pt x="85" y="158"/>
                      </a:cubicBezTo>
                      <a:cubicBezTo>
                        <a:pt x="129" y="158"/>
                        <a:pt x="164" y="123"/>
                        <a:pt x="164" y="79"/>
                      </a:cubicBezTo>
                      <a:cubicBezTo>
                        <a:pt x="164" y="35"/>
                        <a:pt x="129" y="0"/>
                        <a:pt x="85" y="0"/>
                      </a:cubicBezTo>
                      <a:cubicBezTo>
                        <a:pt x="65" y="0"/>
                        <a:pt x="46" y="8"/>
                        <a:pt x="32" y="21"/>
                      </a:cubicBezTo>
                      <a:cubicBezTo>
                        <a:pt x="32" y="21"/>
                        <a:pt x="32" y="21"/>
                        <a:pt x="32" y="21"/>
                      </a:cubicBezTo>
                      <a:cubicBezTo>
                        <a:pt x="28" y="24"/>
                        <a:pt x="25" y="27"/>
                        <a:pt x="22" y="31"/>
                      </a:cubicBezTo>
                      <a:cubicBezTo>
                        <a:pt x="3" y="54"/>
                        <a:pt x="0" y="84"/>
                        <a:pt x="12" y="109"/>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pic>
            <p:nvPicPr>
              <p:cNvPr id="43" name="Picture 42"/>
              <p:cNvPicPr>
                <a:picLocks noChangeAspect="1"/>
              </p:cNvPicPr>
              <p:nvPr/>
            </p:nvPicPr>
            <p:blipFill rotWithShape="1">
              <a:blip r:embed="rId4"/>
              <a:srcRect l="27454" t="29919" r="19972" b="40695"/>
              <a:stretch/>
            </p:blipFill>
            <p:spPr>
              <a:xfrm>
                <a:off x="3628456" y="3192462"/>
                <a:ext cx="522442" cy="363636"/>
              </a:xfrm>
              <a:prstGeom prst="rect">
                <a:avLst/>
              </a:prstGeom>
            </p:spPr>
          </p:pic>
        </p:grpSp>
      </p:grpSp>
      <p:grpSp>
        <p:nvGrpSpPr>
          <p:cNvPr id="49" name="Group 48"/>
          <p:cNvGrpSpPr/>
          <p:nvPr/>
        </p:nvGrpSpPr>
        <p:grpSpPr>
          <a:xfrm>
            <a:off x="5420715" y="2704730"/>
            <a:ext cx="1600200" cy="1600200"/>
            <a:chOff x="5435583" y="2704730"/>
            <a:chExt cx="1600200" cy="1600200"/>
          </a:xfrm>
        </p:grpSpPr>
        <p:sp>
          <p:nvSpPr>
            <p:cNvPr id="50" name="Rectangle 49"/>
            <p:cNvSpPr/>
            <p:nvPr/>
          </p:nvSpPr>
          <p:spPr>
            <a:xfrm>
              <a:off x="5435583"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51" name="Group 50"/>
            <p:cNvGrpSpPr/>
            <p:nvPr/>
          </p:nvGrpSpPr>
          <p:grpSpPr>
            <a:xfrm>
              <a:off x="5738933" y="2901006"/>
              <a:ext cx="993502" cy="1207648"/>
              <a:chOff x="5738933" y="2901006"/>
              <a:chExt cx="993502" cy="1207648"/>
            </a:xfrm>
          </p:grpSpPr>
          <p:grpSp>
            <p:nvGrpSpPr>
              <p:cNvPr id="52" name="Group 51"/>
              <p:cNvGrpSpPr/>
              <p:nvPr/>
            </p:nvGrpSpPr>
            <p:grpSpPr>
              <a:xfrm>
                <a:off x="5738933" y="2901006"/>
                <a:ext cx="993502" cy="1207648"/>
                <a:chOff x="1127084" y="3139548"/>
                <a:chExt cx="851767" cy="1035364"/>
              </a:xfrm>
            </p:grpSpPr>
            <p:sp>
              <p:nvSpPr>
                <p:cNvPr id="54" name="Freeform 41"/>
                <p:cNvSpPr>
                  <a:spLocks noEditPoints="1"/>
                </p:cNvSpPr>
                <p:nvPr/>
              </p:nvSpPr>
              <p:spPr bwMode="auto">
                <a:xfrm>
                  <a:off x="1127084" y="3139548"/>
                  <a:ext cx="851767" cy="1035364"/>
                </a:xfrm>
                <a:custGeom>
                  <a:avLst/>
                  <a:gdLst>
                    <a:gd name="T0" fmla="*/ 237 w 273"/>
                    <a:gd name="T1" fmla="*/ 54 h 332"/>
                    <a:gd name="T2" fmla="*/ 54 w 273"/>
                    <a:gd name="T3" fmla="*/ 58 h 332"/>
                    <a:gd name="T4" fmla="*/ 55 w 273"/>
                    <a:gd name="T5" fmla="*/ 203 h 332"/>
                    <a:gd name="T6" fmla="*/ 98 w 273"/>
                    <a:gd name="T7" fmla="*/ 235 h 332"/>
                    <a:gd name="T8" fmla="*/ 63 w 273"/>
                    <a:gd name="T9" fmla="*/ 261 h 332"/>
                    <a:gd name="T10" fmla="*/ 15 w 273"/>
                    <a:gd name="T11" fmla="*/ 281 h 332"/>
                    <a:gd name="T12" fmla="*/ 6 w 273"/>
                    <a:gd name="T13" fmla="*/ 315 h 332"/>
                    <a:gd name="T14" fmla="*/ 20 w 273"/>
                    <a:gd name="T15" fmla="*/ 322 h 332"/>
                    <a:gd name="T16" fmla="*/ 216 w 273"/>
                    <a:gd name="T17" fmla="*/ 250 h 332"/>
                    <a:gd name="T18" fmla="*/ 258 w 273"/>
                    <a:gd name="T19" fmla="*/ 182 h 332"/>
                    <a:gd name="T20" fmla="*/ 237 w 273"/>
                    <a:gd name="T21" fmla="*/ 54 h 332"/>
                    <a:gd name="T22" fmla="*/ 149 w 273"/>
                    <a:gd name="T23" fmla="*/ 209 h 332"/>
                    <a:gd name="T24" fmla="*/ 76 w 273"/>
                    <a:gd name="T25" fmla="*/ 160 h 332"/>
                    <a:gd name="T26" fmla="*/ 86 w 273"/>
                    <a:gd name="T27" fmla="*/ 82 h 332"/>
                    <a:gd name="T28" fmla="*/ 96 w 273"/>
                    <a:gd name="T29" fmla="*/ 72 h 332"/>
                    <a:gd name="T30" fmla="*/ 149 w 273"/>
                    <a:gd name="T31" fmla="*/ 51 h 332"/>
                    <a:gd name="T32" fmla="*/ 228 w 273"/>
                    <a:gd name="T33" fmla="*/ 130 h 332"/>
                    <a:gd name="T34" fmla="*/ 149 w 273"/>
                    <a:gd name="T35" fmla="*/ 20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3" h="332">
                      <a:moveTo>
                        <a:pt x="237" y="54"/>
                      </a:moveTo>
                      <a:cubicBezTo>
                        <a:pt x="189" y="0"/>
                        <a:pt x="101" y="2"/>
                        <a:pt x="54" y="58"/>
                      </a:cubicBezTo>
                      <a:cubicBezTo>
                        <a:pt x="19" y="100"/>
                        <a:pt x="19" y="161"/>
                        <a:pt x="55" y="203"/>
                      </a:cubicBezTo>
                      <a:cubicBezTo>
                        <a:pt x="67" y="217"/>
                        <a:pt x="81" y="226"/>
                        <a:pt x="98" y="235"/>
                      </a:cubicBezTo>
                      <a:cubicBezTo>
                        <a:pt x="87" y="248"/>
                        <a:pt x="76" y="256"/>
                        <a:pt x="63" y="261"/>
                      </a:cubicBezTo>
                      <a:cubicBezTo>
                        <a:pt x="47" y="268"/>
                        <a:pt x="31" y="274"/>
                        <a:pt x="15" y="281"/>
                      </a:cubicBezTo>
                      <a:cubicBezTo>
                        <a:pt x="0" y="287"/>
                        <a:pt x="7" y="303"/>
                        <a:pt x="6" y="315"/>
                      </a:cubicBezTo>
                      <a:cubicBezTo>
                        <a:pt x="5" y="324"/>
                        <a:pt x="14" y="321"/>
                        <a:pt x="20" y="322"/>
                      </a:cubicBezTo>
                      <a:cubicBezTo>
                        <a:pt x="95" y="332"/>
                        <a:pt x="159" y="304"/>
                        <a:pt x="216" y="250"/>
                      </a:cubicBezTo>
                      <a:cubicBezTo>
                        <a:pt x="235" y="232"/>
                        <a:pt x="250" y="209"/>
                        <a:pt x="258" y="182"/>
                      </a:cubicBezTo>
                      <a:cubicBezTo>
                        <a:pt x="273" y="135"/>
                        <a:pt x="270" y="91"/>
                        <a:pt x="237" y="54"/>
                      </a:cubicBezTo>
                      <a:close/>
                      <a:moveTo>
                        <a:pt x="149" y="209"/>
                      </a:moveTo>
                      <a:cubicBezTo>
                        <a:pt x="116" y="209"/>
                        <a:pt x="88" y="189"/>
                        <a:pt x="76" y="160"/>
                      </a:cubicBezTo>
                      <a:cubicBezTo>
                        <a:pt x="64" y="135"/>
                        <a:pt x="67" y="105"/>
                        <a:pt x="86" y="82"/>
                      </a:cubicBezTo>
                      <a:cubicBezTo>
                        <a:pt x="89" y="78"/>
                        <a:pt x="92" y="75"/>
                        <a:pt x="96" y="72"/>
                      </a:cubicBezTo>
                      <a:cubicBezTo>
                        <a:pt x="110" y="59"/>
                        <a:pt x="129" y="51"/>
                        <a:pt x="149" y="51"/>
                      </a:cubicBezTo>
                      <a:cubicBezTo>
                        <a:pt x="193" y="51"/>
                        <a:pt x="228" y="86"/>
                        <a:pt x="228" y="130"/>
                      </a:cubicBezTo>
                      <a:cubicBezTo>
                        <a:pt x="228" y="174"/>
                        <a:pt x="193" y="209"/>
                        <a:pt x="149" y="209"/>
                      </a:cubicBezTo>
                      <a:close/>
                    </a:path>
                  </a:pathLst>
                </a:custGeom>
                <a:solidFill>
                  <a:srgbClr val="FBF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5" name="Freeform 42"/>
                <p:cNvSpPr>
                  <a:spLocks/>
                </p:cNvSpPr>
                <p:nvPr/>
              </p:nvSpPr>
              <p:spPr bwMode="auto">
                <a:xfrm>
                  <a:off x="1325730" y="3299066"/>
                  <a:ext cx="511662" cy="493604"/>
                </a:xfrm>
                <a:custGeom>
                  <a:avLst/>
                  <a:gdLst>
                    <a:gd name="T0" fmla="*/ 14 w 164"/>
                    <a:gd name="T1" fmla="*/ 113 h 158"/>
                    <a:gd name="T2" fmla="*/ 12 w 164"/>
                    <a:gd name="T3" fmla="*/ 109 h 158"/>
                    <a:gd name="T4" fmla="*/ 85 w 164"/>
                    <a:gd name="T5" fmla="*/ 158 h 158"/>
                    <a:gd name="T6" fmla="*/ 164 w 164"/>
                    <a:gd name="T7" fmla="*/ 79 h 158"/>
                    <a:gd name="T8" fmla="*/ 85 w 164"/>
                    <a:gd name="T9" fmla="*/ 0 h 158"/>
                    <a:gd name="T10" fmla="*/ 32 w 164"/>
                    <a:gd name="T11" fmla="*/ 21 h 158"/>
                    <a:gd name="T12" fmla="*/ 32 w 164"/>
                    <a:gd name="T13" fmla="*/ 21 h 158"/>
                    <a:gd name="T14" fmla="*/ 22 w 164"/>
                    <a:gd name="T15" fmla="*/ 31 h 158"/>
                    <a:gd name="T16" fmla="*/ 12 w 164"/>
                    <a:gd name="T17" fmla="*/ 10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58">
                      <a:moveTo>
                        <a:pt x="14" y="113"/>
                      </a:moveTo>
                      <a:cubicBezTo>
                        <a:pt x="13" y="112"/>
                        <a:pt x="13" y="111"/>
                        <a:pt x="12" y="109"/>
                      </a:cubicBezTo>
                      <a:cubicBezTo>
                        <a:pt x="24" y="138"/>
                        <a:pt x="52" y="158"/>
                        <a:pt x="85" y="158"/>
                      </a:cubicBezTo>
                      <a:cubicBezTo>
                        <a:pt x="129" y="158"/>
                        <a:pt x="164" y="123"/>
                        <a:pt x="164" y="79"/>
                      </a:cubicBezTo>
                      <a:cubicBezTo>
                        <a:pt x="164" y="35"/>
                        <a:pt x="129" y="0"/>
                        <a:pt x="85" y="0"/>
                      </a:cubicBezTo>
                      <a:cubicBezTo>
                        <a:pt x="65" y="0"/>
                        <a:pt x="46" y="8"/>
                        <a:pt x="32" y="21"/>
                      </a:cubicBezTo>
                      <a:cubicBezTo>
                        <a:pt x="32" y="21"/>
                        <a:pt x="32" y="21"/>
                        <a:pt x="32" y="21"/>
                      </a:cubicBezTo>
                      <a:cubicBezTo>
                        <a:pt x="28" y="24"/>
                        <a:pt x="25" y="27"/>
                        <a:pt x="22" y="31"/>
                      </a:cubicBezTo>
                      <a:cubicBezTo>
                        <a:pt x="3" y="54"/>
                        <a:pt x="0" y="84"/>
                        <a:pt x="12" y="109"/>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pic>
            <p:nvPicPr>
              <p:cNvPr id="53" name="Picture 52"/>
              <p:cNvPicPr>
                <a:picLocks noChangeAspect="1"/>
              </p:cNvPicPr>
              <p:nvPr/>
            </p:nvPicPr>
            <p:blipFill>
              <a:blip r:embed="rId5"/>
              <a:stretch>
                <a:fillRect/>
              </a:stretch>
            </p:blipFill>
            <p:spPr>
              <a:xfrm>
                <a:off x="6082992" y="3173974"/>
                <a:ext cx="399488" cy="399488"/>
              </a:xfrm>
              <a:prstGeom prst="rect">
                <a:avLst/>
              </a:prstGeom>
            </p:spPr>
          </p:pic>
        </p:grpSp>
      </p:grpSp>
      <p:grpSp>
        <p:nvGrpSpPr>
          <p:cNvPr id="56" name="Group 55"/>
          <p:cNvGrpSpPr/>
          <p:nvPr/>
        </p:nvGrpSpPr>
        <p:grpSpPr>
          <a:xfrm>
            <a:off x="7838273" y="2704730"/>
            <a:ext cx="1600200" cy="1600200"/>
            <a:chOff x="7853141" y="2704730"/>
            <a:chExt cx="1600200" cy="1600200"/>
          </a:xfrm>
        </p:grpSpPr>
        <p:sp>
          <p:nvSpPr>
            <p:cNvPr id="57" name="Rectangle 56"/>
            <p:cNvSpPr/>
            <p:nvPr/>
          </p:nvSpPr>
          <p:spPr>
            <a:xfrm>
              <a:off x="7853141"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58" name="Group 57"/>
            <p:cNvGrpSpPr/>
            <p:nvPr/>
          </p:nvGrpSpPr>
          <p:grpSpPr>
            <a:xfrm>
              <a:off x="8156491" y="2901006"/>
              <a:ext cx="993502" cy="1207648"/>
              <a:chOff x="8156491" y="2901006"/>
              <a:chExt cx="993502" cy="1207648"/>
            </a:xfrm>
          </p:grpSpPr>
          <p:grpSp>
            <p:nvGrpSpPr>
              <p:cNvPr id="59" name="Group 58"/>
              <p:cNvGrpSpPr/>
              <p:nvPr/>
            </p:nvGrpSpPr>
            <p:grpSpPr>
              <a:xfrm>
                <a:off x="8156491" y="2901006"/>
                <a:ext cx="993502" cy="1207648"/>
                <a:chOff x="1127084" y="3139548"/>
                <a:chExt cx="851767" cy="1035364"/>
              </a:xfrm>
            </p:grpSpPr>
            <p:sp>
              <p:nvSpPr>
                <p:cNvPr id="61" name="Freeform 41"/>
                <p:cNvSpPr>
                  <a:spLocks noEditPoints="1"/>
                </p:cNvSpPr>
                <p:nvPr/>
              </p:nvSpPr>
              <p:spPr bwMode="auto">
                <a:xfrm>
                  <a:off x="1127084" y="3139548"/>
                  <a:ext cx="851767" cy="1035364"/>
                </a:xfrm>
                <a:custGeom>
                  <a:avLst/>
                  <a:gdLst>
                    <a:gd name="T0" fmla="*/ 237 w 273"/>
                    <a:gd name="T1" fmla="*/ 54 h 332"/>
                    <a:gd name="T2" fmla="*/ 54 w 273"/>
                    <a:gd name="T3" fmla="*/ 58 h 332"/>
                    <a:gd name="T4" fmla="*/ 55 w 273"/>
                    <a:gd name="T5" fmla="*/ 203 h 332"/>
                    <a:gd name="T6" fmla="*/ 98 w 273"/>
                    <a:gd name="T7" fmla="*/ 235 h 332"/>
                    <a:gd name="T8" fmla="*/ 63 w 273"/>
                    <a:gd name="T9" fmla="*/ 261 h 332"/>
                    <a:gd name="T10" fmla="*/ 15 w 273"/>
                    <a:gd name="T11" fmla="*/ 281 h 332"/>
                    <a:gd name="T12" fmla="*/ 6 w 273"/>
                    <a:gd name="T13" fmla="*/ 315 h 332"/>
                    <a:gd name="T14" fmla="*/ 20 w 273"/>
                    <a:gd name="T15" fmla="*/ 322 h 332"/>
                    <a:gd name="T16" fmla="*/ 216 w 273"/>
                    <a:gd name="T17" fmla="*/ 250 h 332"/>
                    <a:gd name="T18" fmla="*/ 258 w 273"/>
                    <a:gd name="T19" fmla="*/ 182 h 332"/>
                    <a:gd name="T20" fmla="*/ 237 w 273"/>
                    <a:gd name="T21" fmla="*/ 54 h 332"/>
                    <a:gd name="T22" fmla="*/ 149 w 273"/>
                    <a:gd name="T23" fmla="*/ 209 h 332"/>
                    <a:gd name="T24" fmla="*/ 76 w 273"/>
                    <a:gd name="T25" fmla="*/ 160 h 332"/>
                    <a:gd name="T26" fmla="*/ 86 w 273"/>
                    <a:gd name="T27" fmla="*/ 82 h 332"/>
                    <a:gd name="T28" fmla="*/ 96 w 273"/>
                    <a:gd name="T29" fmla="*/ 72 h 332"/>
                    <a:gd name="T30" fmla="*/ 149 w 273"/>
                    <a:gd name="T31" fmla="*/ 51 h 332"/>
                    <a:gd name="T32" fmla="*/ 228 w 273"/>
                    <a:gd name="T33" fmla="*/ 130 h 332"/>
                    <a:gd name="T34" fmla="*/ 149 w 273"/>
                    <a:gd name="T35" fmla="*/ 20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3" h="332">
                      <a:moveTo>
                        <a:pt x="237" y="54"/>
                      </a:moveTo>
                      <a:cubicBezTo>
                        <a:pt x="189" y="0"/>
                        <a:pt x="101" y="2"/>
                        <a:pt x="54" y="58"/>
                      </a:cubicBezTo>
                      <a:cubicBezTo>
                        <a:pt x="19" y="100"/>
                        <a:pt x="19" y="161"/>
                        <a:pt x="55" y="203"/>
                      </a:cubicBezTo>
                      <a:cubicBezTo>
                        <a:pt x="67" y="217"/>
                        <a:pt x="81" y="226"/>
                        <a:pt x="98" y="235"/>
                      </a:cubicBezTo>
                      <a:cubicBezTo>
                        <a:pt x="87" y="248"/>
                        <a:pt x="76" y="256"/>
                        <a:pt x="63" y="261"/>
                      </a:cubicBezTo>
                      <a:cubicBezTo>
                        <a:pt x="47" y="268"/>
                        <a:pt x="31" y="274"/>
                        <a:pt x="15" y="281"/>
                      </a:cubicBezTo>
                      <a:cubicBezTo>
                        <a:pt x="0" y="287"/>
                        <a:pt x="7" y="303"/>
                        <a:pt x="6" y="315"/>
                      </a:cubicBezTo>
                      <a:cubicBezTo>
                        <a:pt x="5" y="324"/>
                        <a:pt x="14" y="321"/>
                        <a:pt x="20" y="322"/>
                      </a:cubicBezTo>
                      <a:cubicBezTo>
                        <a:pt x="95" y="332"/>
                        <a:pt x="159" y="304"/>
                        <a:pt x="216" y="250"/>
                      </a:cubicBezTo>
                      <a:cubicBezTo>
                        <a:pt x="235" y="232"/>
                        <a:pt x="250" y="209"/>
                        <a:pt x="258" y="182"/>
                      </a:cubicBezTo>
                      <a:cubicBezTo>
                        <a:pt x="273" y="135"/>
                        <a:pt x="270" y="91"/>
                        <a:pt x="237" y="54"/>
                      </a:cubicBezTo>
                      <a:close/>
                      <a:moveTo>
                        <a:pt x="149" y="209"/>
                      </a:moveTo>
                      <a:cubicBezTo>
                        <a:pt x="116" y="209"/>
                        <a:pt x="88" y="189"/>
                        <a:pt x="76" y="160"/>
                      </a:cubicBezTo>
                      <a:cubicBezTo>
                        <a:pt x="64" y="135"/>
                        <a:pt x="67" y="105"/>
                        <a:pt x="86" y="82"/>
                      </a:cubicBezTo>
                      <a:cubicBezTo>
                        <a:pt x="89" y="78"/>
                        <a:pt x="92" y="75"/>
                        <a:pt x="96" y="72"/>
                      </a:cubicBezTo>
                      <a:cubicBezTo>
                        <a:pt x="110" y="59"/>
                        <a:pt x="129" y="51"/>
                        <a:pt x="149" y="51"/>
                      </a:cubicBezTo>
                      <a:cubicBezTo>
                        <a:pt x="193" y="51"/>
                        <a:pt x="228" y="86"/>
                        <a:pt x="228" y="130"/>
                      </a:cubicBezTo>
                      <a:cubicBezTo>
                        <a:pt x="228" y="174"/>
                        <a:pt x="193" y="209"/>
                        <a:pt x="149" y="209"/>
                      </a:cubicBezTo>
                      <a:close/>
                    </a:path>
                  </a:pathLst>
                </a:custGeom>
                <a:solidFill>
                  <a:srgbClr val="FBF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5" name="Freeform 42"/>
                <p:cNvSpPr>
                  <a:spLocks/>
                </p:cNvSpPr>
                <p:nvPr/>
              </p:nvSpPr>
              <p:spPr bwMode="auto">
                <a:xfrm>
                  <a:off x="1325730" y="3299066"/>
                  <a:ext cx="511662" cy="493604"/>
                </a:xfrm>
                <a:custGeom>
                  <a:avLst/>
                  <a:gdLst>
                    <a:gd name="T0" fmla="*/ 14 w 164"/>
                    <a:gd name="T1" fmla="*/ 113 h 158"/>
                    <a:gd name="T2" fmla="*/ 12 w 164"/>
                    <a:gd name="T3" fmla="*/ 109 h 158"/>
                    <a:gd name="T4" fmla="*/ 85 w 164"/>
                    <a:gd name="T5" fmla="*/ 158 h 158"/>
                    <a:gd name="T6" fmla="*/ 164 w 164"/>
                    <a:gd name="T7" fmla="*/ 79 h 158"/>
                    <a:gd name="T8" fmla="*/ 85 w 164"/>
                    <a:gd name="T9" fmla="*/ 0 h 158"/>
                    <a:gd name="T10" fmla="*/ 32 w 164"/>
                    <a:gd name="T11" fmla="*/ 21 h 158"/>
                    <a:gd name="T12" fmla="*/ 32 w 164"/>
                    <a:gd name="T13" fmla="*/ 21 h 158"/>
                    <a:gd name="T14" fmla="*/ 22 w 164"/>
                    <a:gd name="T15" fmla="*/ 31 h 158"/>
                    <a:gd name="T16" fmla="*/ 12 w 164"/>
                    <a:gd name="T17" fmla="*/ 10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58">
                      <a:moveTo>
                        <a:pt x="14" y="113"/>
                      </a:moveTo>
                      <a:cubicBezTo>
                        <a:pt x="13" y="112"/>
                        <a:pt x="13" y="111"/>
                        <a:pt x="12" y="109"/>
                      </a:cubicBezTo>
                      <a:cubicBezTo>
                        <a:pt x="24" y="138"/>
                        <a:pt x="52" y="158"/>
                        <a:pt x="85" y="158"/>
                      </a:cubicBezTo>
                      <a:cubicBezTo>
                        <a:pt x="129" y="158"/>
                        <a:pt x="164" y="123"/>
                        <a:pt x="164" y="79"/>
                      </a:cubicBezTo>
                      <a:cubicBezTo>
                        <a:pt x="164" y="35"/>
                        <a:pt x="129" y="0"/>
                        <a:pt x="85" y="0"/>
                      </a:cubicBezTo>
                      <a:cubicBezTo>
                        <a:pt x="65" y="0"/>
                        <a:pt x="46" y="8"/>
                        <a:pt x="32" y="21"/>
                      </a:cubicBezTo>
                      <a:cubicBezTo>
                        <a:pt x="32" y="21"/>
                        <a:pt x="32" y="21"/>
                        <a:pt x="32" y="21"/>
                      </a:cubicBezTo>
                      <a:cubicBezTo>
                        <a:pt x="28" y="24"/>
                        <a:pt x="25" y="27"/>
                        <a:pt x="22" y="31"/>
                      </a:cubicBezTo>
                      <a:cubicBezTo>
                        <a:pt x="3" y="54"/>
                        <a:pt x="0" y="84"/>
                        <a:pt x="12" y="109"/>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pic>
            <p:nvPicPr>
              <p:cNvPr id="60" name="Picture 59"/>
              <p:cNvPicPr>
                <a:picLocks noChangeAspect="1"/>
              </p:cNvPicPr>
              <p:nvPr/>
            </p:nvPicPr>
            <p:blipFill rotWithShape="1">
              <a:blip r:embed="rId6"/>
              <a:srcRect l="19456" t="19456" r="23993" b="23993"/>
              <a:stretch/>
            </p:blipFill>
            <p:spPr>
              <a:xfrm>
                <a:off x="8428037" y="3123696"/>
                <a:ext cx="516194" cy="504724"/>
              </a:xfrm>
              <a:prstGeom prst="rect">
                <a:avLst/>
              </a:prstGeom>
            </p:spPr>
          </p:pic>
        </p:grpSp>
      </p:grpSp>
      <p:grpSp>
        <p:nvGrpSpPr>
          <p:cNvPr id="2" name="Group 1"/>
          <p:cNvGrpSpPr/>
          <p:nvPr/>
        </p:nvGrpSpPr>
        <p:grpSpPr>
          <a:xfrm>
            <a:off x="427038" y="369933"/>
            <a:ext cx="3723860" cy="774710"/>
            <a:chOff x="427038" y="369933"/>
            <a:chExt cx="3723860" cy="774710"/>
          </a:xfrm>
        </p:grpSpPr>
        <p:sp>
          <p:nvSpPr>
            <p:cNvPr id="94" name="Rectangle 93"/>
            <p:cNvSpPr/>
            <p:nvPr/>
          </p:nvSpPr>
          <p:spPr>
            <a:xfrm>
              <a:off x="427038" y="380046"/>
              <a:ext cx="1066799" cy="7645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9" name="Freeform 9"/>
            <p:cNvSpPr>
              <a:spLocks noChangeAspect="1"/>
            </p:cNvSpPr>
            <p:nvPr/>
          </p:nvSpPr>
          <p:spPr bwMode="auto">
            <a:xfrm>
              <a:off x="857585" y="475389"/>
              <a:ext cx="483854" cy="608436"/>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86" name="Rectangle 85"/>
            <p:cNvSpPr/>
            <p:nvPr/>
          </p:nvSpPr>
          <p:spPr>
            <a:xfrm>
              <a:off x="1352882" y="369933"/>
              <a:ext cx="2798016" cy="769441"/>
            </a:xfrm>
            <a:prstGeom prst="rect">
              <a:avLst/>
            </a:prstGeom>
            <a:solidFill>
              <a:schemeClr val="accent1"/>
            </a:solidFill>
          </p:spPr>
          <p:txBody>
            <a:bodyPr wrap="square" anchor="ctr">
              <a:spAutoFit/>
            </a:bodyPr>
            <a:lstStyle/>
            <a:p>
              <a:pPr marL="182845" marR="0" lvl="0" indent="0" algn="l" defTabSz="931741" rtl="0" eaLnBrk="1" fontAlgn="base" latinLnBrk="0" hangingPunct="1">
                <a:lnSpc>
                  <a:spcPct val="100000"/>
                </a:lnSpc>
                <a:spcBef>
                  <a:spcPts val="1199"/>
                </a:spcBef>
                <a:spcAft>
                  <a:spcPts val="1199"/>
                </a:spcAft>
                <a:buClrTx/>
                <a:buSzTx/>
                <a:buFontTx/>
                <a:buNone/>
                <a:tabLst/>
                <a:defRPr/>
              </a:pPr>
              <a:r>
                <a:rPr kumimoji="0" lang="en-US" sz="44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rPr>
                <a:t>Language</a:t>
              </a:r>
            </a:p>
          </p:txBody>
        </p:sp>
      </p:grpSp>
    </p:spTree>
    <p:extLst>
      <p:ext uri="{BB962C8B-B14F-4D97-AF65-F5344CB8AC3E}">
        <p14:creationId xmlns:p14="http://schemas.microsoft.com/office/powerpoint/2010/main" val="3868445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xit" presetSubtype="0" fill="hold" nodeType="afterEffect">
                                  <p:stCondLst>
                                    <p:cond delay="0"/>
                                  </p:stCondLst>
                                  <p:childTnLst>
                                    <p:animEffect transition="out" filter="fade">
                                      <p:cBhvr>
                                        <p:cTn id="6" dur="300"/>
                                        <p:tgtEl>
                                          <p:spTgt spid="89"/>
                                        </p:tgtEl>
                                      </p:cBhvr>
                                    </p:animEffect>
                                    <p:anim calcmode="lin" valueType="num">
                                      <p:cBhvr>
                                        <p:cTn id="7" dur="300"/>
                                        <p:tgtEl>
                                          <p:spTgt spid="89"/>
                                        </p:tgtEl>
                                        <p:attrNameLst>
                                          <p:attrName>ppt_x</p:attrName>
                                        </p:attrNameLst>
                                      </p:cBhvr>
                                      <p:tavLst>
                                        <p:tav tm="0">
                                          <p:val>
                                            <p:strVal val="ppt_x"/>
                                          </p:val>
                                        </p:tav>
                                        <p:tav tm="100000">
                                          <p:val>
                                            <p:strVal val="ppt_x"/>
                                          </p:val>
                                        </p:tav>
                                      </p:tavLst>
                                    </p:anim>
                                    <p:anim calcmode="lin" valueType="num">
                                      <p:cBhvr>
                                        <p:cTn id="8" dur="300"/>
                                        <p:tgtEl>
                                          <p:spTgt spid="89"/>
                                        </p:tgtEl>
                                        <p:attrNameLst>
                                          <p:attrName>ppt_y</p:attrName>
                                        </p:attrNameLst>
                                      </p:cBhvr>
                                      <p:tavLst>
                                        <p:tav tm="0">
                                          <p:val>
                                            <p:strVal val="ppt_y"/>
                                          </p:val>
                                        </p:tav>
                                        <p:tav tm="100000">
                                          <p:val>
                                            <p:strVal val="ppt_y+.1"/>
                                          </p:val>
                                        </p:tav>
                                      </p:tavLst>
                                    </p:anim>
                                    <p:set>
                                      <p:cBhvr>
                                        <p:cTn id="9" dur="1" fill="hold">
                                          <p:stCondLst>
                                            <p:cond delay="299"/>
                                          </p:stCondLst>
                                        </p:cTn>
                                        <p:tgtEl>
                                          <p:spTgt spid="89"/>
                                        </p:tgtEl>
                                        <p:attrNameLst>
                                          <p:attrName>style.visibility</p:attrName>
                                        </p:attrNameLst>
                                      </p:cBhvr>
                                      <p:to>
                                        <p:strVal val="hidden"/>
                                      </p:to>
                                    </p:set>
                                  </p:childTnLst>
                                </p:cTn>
                              </p:par>
                              <p:par>
                                <p:cTn id="10" presetID="47"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300"/>
                                        <p:tgtEl>
                                          <p:spTgt spid="2"/>
                                        </p:tgtEl>
                                      </p:cBhvr>
                                    </p:animEffect>
                                    <p:anim calcmode="lin" valueType="num">
                                      <p:cBhvr>
                                        <p:cTn id="13" dur="300" fill="hold"/>
                                        <p:tgtEl>
                                          <p:spTgt spid="2"/>
                                        </p:tgtEl>
                                        <p:attrNameLst>
                                          <p:attrName>ppt_x</p:attrName>
                                        </p:attrNameLst>
                                      </p:cBhvr>
                                      <p:tavLst>
                                        <p:tav tm="0">
                                          <p:val>
                                            <p:strVal val="#ppt_x"/>
                                          </p:val>
                                        </p:tav>
                                        <p:tav tm="100000">
                                          <p:val>
                                            <p:strVal val="#ppt_x"/>
                                          </p:val>
                                        </p:tav>
                                      </p:tavLst>
                                    </p:anim>
                                    <p:anim calcmode="lin" valueType="num">
                                      <p:cBhvr>
                                        <p:cTn id="14" dur="3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gnitive Services: </a:t>
            </a:r>
            <a:br>
              <a:rPr lang="en-US" dirty="0"/>
            </a:br>
            <a:r>
              <a:rPr lang="en-US" dirty="0"/>
              <a:t>Making AI Easy</a:t>
            </a:r>
          </a:p>
        </p:txBody>
      </p:sp>
      <p:sp>
        <p:nvSpPr>
          <p:cNvPr id="5" name="Text Placeholder 4"/>
          <p:cNvSpPr>
            <a:spLocks noGrp="1"/>
          </p:cNvSpPr>
          <p:nvPr>
            <p:ph type="body" sz="quarter" idx="12"/>
          </p:nvPr>
        </p:nvSpPr>
        <p:spPr>
          <a:xfrm>
            <a:off x="274701" y="3955786"/>
            <a:ext cx="7772336" cy="1828007"/>
          </a:xfrm>
        </p:spPr>
        <p:txBody>
          <a:bodyPr/>
          <a:lstStyle/>
          <a:p>
            <a:r>
              <a:rPr lang="en-US" dirty="0"/>
              <a:t>Jennifer Marsman</a:t>
            </a:r>
          </a:p>
          <a:p>
            <a:r>
              <a:rPr lang="en-US" dirty="0"/>
              <a:t>Principal Software Development Engineer</a:t>
            </a:r>
          </a:p>
          <a:p>
            <a:r>
              <a:rPr lang="en-US" dirty="0"/>
              <a:t>Microsoft Corporation</a:t>
            </a:r>
          </a:p>
          <a:p>
            <a:r>
              <a:rPr lang="en-US" dirty="0">
                <a:hlinkClick r:id="rId3"/>
              </a:rPr>
              <a:t>http://blogs.msdn.microsoft.com/jennifer</a:t>
            </a:r>
            <a:endParaRPr lang="en-US" dirty="0"/>
          </a:p>
          <a:p>
            <a:r>
              <a:rPr lang="en-US" dirty="0"/>
              <a:t>Twitter: @</a:t>
            </a:r>
            <a:r>
              <a:rPr lang="en-US" dirty="0" err="1"/>
              <a:t>JenniferMarsman</a:t>
            </a:r>
            <a:endParaRPr lang="en-US" dirty="0"/>
          </a:p>
        </p:txBody>
      </p:sp>
    </p:spTree>
    <p:extLst>
      <p:ext uri="{BB962C8B-B14F-4D97-AF65-F5344CB8AC3E}">
        <p14:creationId xmlns:p14="http://schemas.microsoft.com/office/powerpoint/2010/main" val="100573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flipH="1">
            <a:off x="1764" y="3223"/>
            <a:ext cx="12476587" cy="6995242"/>
          </a:xfrm>
          <a:prstGeom prst="rect">
            <a:avLst/>
          </a:prstGeom>
        </p:spPr>
      </p:pic>
      <p:sp>
        <p:nvSpPr>
          <p:cNvPr id="16" name="Rectangle 15"/>
          <p:cNvSpPr/>
          <p:nvPr/>
        </p:nvSpPr>
        <p:spPr bwMode="auto">
          <a:xfrm>
            <a:off x="2707301" y="1213370"/>
            <a:ext cx="9445097" cy="5481345"/>
          </a:xfrm>
          <a:prstGeom prst="rect">
            <a:avLst/>
          </a:prstGeom>
          <a:solidFill>
            <a:srgbClr val="0078D7">
              <a:alpha val="92000"/>
            </a:srgbClr>
          </a:solidFill>
          <a:ln w="3175" cap="flat" cmpd="sng" algn="ctr">
            <a:noFill/>
            <a:prstDash val="solid"/>
            <a:headEnd type="none" w="med" len="med"/>
            <a:tailEnd type="none" w="med" len="med"/>
          </a:ln>
          <a:effectLst/>
        </p:spPr>
        <p:txBody>
          <a:bodyPr vert="horz" wrap="square" lIns="0" tIns="47522" rIns="0" bIns="47522" numCol="1" rtlCol="0" anchor="ctr" anchorCtr="0" compatLnSpc="1">
            <a:prstTxWarp prst="textNoShape">
              <a:avLst/>
            </a:prstTxWarp>
          </a:bodyPr>
          <a:lstStyle/>
          <a:p>
            <a:pPr marL="0" marR="0" lvl="0" indent="0" algn="ctr" defTabSz="950081" rtl="0" eaLnBrk="1" fontAlgn="base" latinLnBrk="0" hangingPunct="1">
              <a:lnSpc>
                <a:spcPct val="100000"/>
              </a:lnSpc>
              <a:spcBef>
                <a:spcPct val="0"/>
              </a:spcBef>
              <a:spcAft>
                <a:spcPct val="0"/>
              </a:spcAft>
              <a:buClrTx/>
              <a:buSzTx/>
              <a:buFontTx/>
              <a:buNone/>
              <a:tabLst/>
              <a:defRPr/>
            </a:pPr>
            <a:endParaRPr kumimoji="0" lang="en-US" sz="203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 name="Title 1"/>
          <p:cNvSpPr txBox="1">
            <a:spLocks/>
          </p:cNvSpPr>
          <p:nvPr/>
        </p:nvSpPr>
        <p:spPr>
          <a:xfrm>
            <a:off x="4417035" y="1104263"/>
            <a:ext cx="6199877" cy="1124652"/>
          </a:xfrm>
          <a:prstGeom prst="rect">
            <a:avLst/>
          </a:prstGeom>
        </p:spPr>
        <p:txBody>
          <a:bodyPr vert="horz" lIns="93161" tIns="46579" rIns="93161" bIns="46579" rtlCol="0" anchor="b">
            <a:norm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31668" rtl="0" eaLnBrk="1" fontAlgn="auto" latinLnBrk="0" hangingPunct="1">
              <a:lnSpc>
                <a:spcPct val="90000"/>
              </a:lnSpc>
              <a:spcBef>
                <a:spcPct val="0"/>
              </a:spcBef>
              <a:spcAft>
                <a:spcPts val="0"/>
              </a:spcAft>
              <a:buClrTx/>
              <a:buSzTx/>
              <a:buFontTx/>
              <a:buNone/>
              <a:tabLst/>
              <a:defRPr/>
            </a:pPr>
            <a:r>
              <a:rPr kumimoji="0" lang="en-US" sz="5393"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j-ea"/>
                <a:cs typeface="+mj-cs"/>
              </a:rPr>
              <a:t>Text analytics</a:t>
            </a:r>
          </a:p>
        </p:txBody>
      </p:sp>
      <p:sp>
        <p:nvSpPr>
          <p:cNvPr id="19" name="Freeform 5"/>
          <p:cNvSpPr>
            <a:spLocks/>
          </p:cNvSpPr>
          <p:nvPr/>
        </p:nvSpPr>
        <p:spPr bwMode="auto">
          <a:xfrm>
            <a:off x="2700819" y="1213371"/>
            <a:ext cx="1884250" cy="1041497"/>
          </a:xfrm>
          <a:custGeom>
            <a:avLst/>
            <a:gdLst>
              <a:gd name="T0" fmla="*/ 914 w 1165"/>
              <a:gd name="T1" fmla="*/ 578 h 578"/>
              <a:gd name="T2" fmla="*/ 0 w 1165"/>
              <a:gd name="T3" fmla="*/ 578 h 578"/>
              <a:gd name="T4" fmla="*/ 0 w 1165"/>
              <a:gd name="T5" fmla="*/ 0 h 578"/>
              <a:gd name="T6" fmla="*/ 1165 w 1165"/>
              <a:gd name="T7" fmla="*/ 0 h 578"/>
              <a:gd name="T8" fmla="*/ 914 w 1165"/>
              <a:gd name="T9" fmla="*/ 578 h 578"/>
              <a:gd name="T10" fmla="*/ 914 w 1165"/>
              <a:gd name="T11" fmla="*/ 578 h 578"/>
              <a:gd name="T12" fmla="*/ 914 w 1165"/>
              <a:gd name="T13" fmla="*/ 578 h 578"/>
            </a:gdLst>
            <a:ahLst/>
            <a:cxnLst>
              <a:cxn ang="0">
                <a:pos x="T0" y="T1"/>
              </a:cxn>
              <a:cxn ang="0">
                <a:pos x="T2" y="T3"/>
              </a:cxn>
              <a:cxn ang="0">
                <a:pos x="T4" y="T5"/>
              </a:cxn>
              <a:cxn ang="0">
                <a:pos x="T6" y="T7"/>
              </a:cxn>
              <a:cxn ang="0">
                <a:pos x="T8" y="T9"/>
              </a:cxn>
              <a:cxn ang="0">
                <a:pos x="T10" y="T11"/>
              </a:cxn>
              <a:cxn ang="0">
                <a:pos x="T12" y="T13"/>
              </a:cxn>
            </a:cxnLst>
            <a:rect l="0" t="0" r="r" b="b"/>
            <a:pathLst>
              <a:path w="1165" h="578">
                <a:moveTo>
                  <a:pt x="914" y="578"/>
                </a:moveTo>
                <a:lnTo>
                  <a:pt x="0" y="578"/>
                </a:lnTo>
                <a:lnTo>
                  <a:pt x="0" y="0"/>
                </a:lnTo>
                <a:lnTo>
                  <a:pt x="1165" y="0"/>
                </a:lnTo>
                <a:lnTo>
                  <a:pt x="914" y="578"/>
                </a:lnTo>
                <a:lnTo>
                  <a:pt x="914" y="578"/>
                </a:lnTo>
                <a:lnTo>
                  <a:pt x="914" y="5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61" tIns="46579" rIns="93161" bIns="46579" numCol="1" anchor="t" anchorCtr="0" compatLnSpc="1">
            <a:prstTxWarp prst="textNoShape">
              <a:avLst/>
            </a:prstTxWarp>
          </a:bodyPr>
          <a:lstStyle/>
          <a:p>
            <a:pPr marL="0" marR="0" lvl="0" indent="0" algn="l" defTabSz="931489"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a:ln>
                <a:noFill/>
              </a:ln>
              <a:solidFill>
                <a:srgbClr val="404040"/>
              </a:solidFill>
              <a:effectLst/>
              <a:uLnTx/>
              <a:uFillTx/>
              <a:latin typeface="Segoe UI"/>
              <a:ea typeface="+mn-ea"/>
              <a:cs typeface="+mn-cs"/>
            </a:endParaRPr>
          </a:p>
        </p:txBody>
      </p:sp>
      <p:sp>
        <p:nvSpPr>
          <p:cNvPr id="20" name="Rectangle 19"/>
          <p:cNvSpPr/>
          <p:nvPr/>
        </p:nvSpPr>
        <p:spPr>
          <a:xfrm>
            <a:off x="3016823" y="2369922"/>
            <a:ext cx="9135576" cy="4356625"/>
          </a:xfrm>
          <a:prstGeom prst="rect">
            <a:avLst/>
          </a:prstGeom>
        </p:spPr>
        <p:txBody>
          <a:bodyPr wrap="square">
            <a:spAutoFit/>
          </a:bodyPr>
          <a:lstStyle/>
          <a:p>
            <a:pPr marL="0" marR="0" lvl="0" indent="0" algn="l" defTabSz="913490" rtl="0" eaLnBrk="1" fontAlgn="auto" latinLnBrk="0" hangingPunct="1">
              <a:lnSpc>
                <a:spcPct val="90000"/>
              </a:lnSpc>
              <a:spcBef>
                <a:spcPts val="0"/>
              </a:spcBef>
              <a:spcAft>
                <a:spcPts val="1798"/>
              </a:spcAft>
              <a:buClrTx/>
              <a:buSzTx/>
              <a:buFontTx/>
              <a:buNone/>
              <a:tabLst/>
              <a:defRPr/>
            </a:pPr>
            <a:r>
              <a:rPr kumimoji="0" lang="en-US" altLang="zh-CN" sz="3296"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Sentiment analysis</a:t>
            </a:r>
            <a:br>
              <a:rPr kumimoji="0" lang="en-US" altLang="zh-CN" sz="3796"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altLang="zh-CN" sz="2398"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nderstand if a record has positive or negative sentiment</a:t>
            </a:r>
          </a:p>
          <a:p>
            <a:pPr marL="0" marR="0" lvl="0" indent="0" algn="l" defTabSz="913490" rtl="0" eaLnBrk="1" fontAlgn="auto" latinLnBrk="0" hangingPunct="1">
              <a:lnSpc>
                <a:spcPct val="90000"/>
              </a:lnSpc>
              <a:spcBef>
                <a:spcPts val="0"/>
              </a:spcBef>
              <a:spcAft>
                <a:spcPts val="1798"/>
              </a:spcAft>
              <a:buClrTx/>
              <a:buSzTx/>
              <a:buFontTx/>
              <a:buNone/>
              <a:tabLst/>
              <a:defRPr/>
            </a:pPr>
            <a:r>
              <a:rPr kumimoji="0" lang="en-US" altLang="zh-CN" sz="3296"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Key phrase extraction</a:t>
            </a:r>
            <a:br>
              <a:rPr kumimoji="0" lang="en-US" altLang="zh-CN" sz="3796"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altLang="zh-CN" sz="2398"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xtract key phrases from a piece of text, and retrieve topics</a:t>
            </a:r>
          </a:p>
          <a:p>
            <a:pPr marL="0" marR="0" lvl="0" indent="0" algn="l" defTabSz="913490" rtl="0" eaLnBrk="1" fontAlgn="auto" latinLnBrk="0" hangingPunct="1">
              <a:lnSpc>
                <a:spcPct val="90000"/>
              </a:lnSpc>
              <a:spcBef>
                <a:spcPts val="0"/>
              </a:spcBef>
              <a:spcAft>
                <a:spcPts val="1798"/>
              </a:spcAft>
              <a:buClrTx/>
              <a:buSzTx/>
              <a:buFontTx/>
              <a:buNone/>
              <a:tabLst/>
              <a:defRPr/>
            </a:pPr>
            <a:r>
              <a:rPr kumimoji="0" lang="en-US" altLang="zh-CN" sz="3296"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Topic detection </a:t>
            </a:r>
            <a:br>
              <a:rPr kumimoji="0" lang="en-US" altLang="zh-CN" sz="3796"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altLang="zh-CN" sz="2398"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 clustering techniques to identify the trending topics </a:t>
            </a:r>
            <a:br>
              <a:rPr kumimoji="0" lang="en-US" altLang="zh-CN" sz="2398"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2398"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n a large set of text records</a:t>
            </a:r>
          </a:p>
          <a:p>
            <a:pPr marL="0" marR="0" lvl="0" indent="0" algn="l" defTabSz="913490" rtl="0" eaLnBrk="1" fontAlgn="auto" latinLnBrk="0" hangingPunct="1">
              <a:lnSpc>
                <a:spcPct val="90000"/>
              </a:lnSpc>
              <a:spcBef>
                <a:spcPts val="0"/>
              </a:spcBef>
              <a:spcAft>
                <a:spcPts val="1798"/>
              </a:spcAft>
              <a:buClrTx/>
              <a:buSzTx/>
              <a:buFontTx/>
              <a:buNone/>
              <a:tabLst/>
              <a:defRPr/>
            </a:pPr>
            <a:r>
              <a:rPr kumimoji="0" lang="en-US" altLang="zh-CN" sz="3296"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Language detection </a:t>
            </a:r>
            <a:br>
              <a:rPr kumimoji="0" lang="en-US" altLang="zh-CN" sz="3296"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altLang="zh-CN" sz="2398"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Identify the language, 120 supported languages</a:t>
            </a:r>
          </a:p>
        </p:txBody>
      </p:sp>
      <p:grpSp>
        <p:nvGrpSpPr>
          <p:cNvPr id="9" name="Group 8"/>
          <p:cNvGrpSpPr/>
          <p:nvPr/>
        </p:nvGrpSpPr>
        <p:grpSpPr>
          <a:xfrm>
            <a:off x="3172158" y="1335959"/>
            <a:ext cx="773540" cy="811762"/>
            <a:chOff x="3173318" y="2248368"/>
            <a:chExt cx="774252" cy="812510"/>
          </a:xfrm>
        </p:grpSpPr>
        <p:grpSp>
          <p:nvGrpSpPr>
            <p:cNvPr id="22" name="Group 4"/>
            <p:cNvGrpSpPr>
              <a:grpSpLocks noChangeAspect="1"/>
            </p:cNvGrpSpPr>
            <p:nvPr/>
          </p:nvGrpSpPr>
          <p:grpSpPr bwMode="auto">
            <a:xfrm>
              <a:off x="3173318" y="2248368"/>
              <a:ext cx="774252" cy="812510"/>
              <a:chOff x="2" y="1"/>
              <a:chExt cx="1194" cy="1253"/>
            </a:xfrm>
          </p:grpSpPr>
          <p:sp>
            <p:nvSpPr>
              <p:cNvPr id="26" name="Freeform 5"/>
              <p:cNvSpPr>
                <a:spLocks/>
              </p:cNvSpPr>
              <p:nvPr/>
            </p:nvSpPr>
            <p:spPr bwMode="auto">
              <a:xfrm>
                <a:off x="2" y="1"/>
                <a:ext cx="1194" cy="1253"/>
              </a:xfrm>
              <a:custGeom>
                <a:avLst/>
                <a:gdLst>
                  <a:gd name="T0" fmla="*/ 579 w 579"/>
                  <a:gd name="T1" fmla="*/ 227 h 608"/>
                  <a:gd name="T2" fmla="*/ 313 w 579"/>
                  <a:gd name="T3" fmla="*/ 0 h 608"/>
                  <a:gd name="T4" fmla="*/ 47 w 579"/>
                  <a:gd name="T5" fmla="*/ 227 h 608"/>
                  <a:gd name="T6" fmla="*/ 202 w 579"/>
                  <a:gd name="T7" fmla="*/ 432 h 608"/>
                  <a:gd name="T8" fmla="*/ 133 w 579"/>
                  <a:gd name="T9" fmla="*/ 482 h 608"/>
                  <a:gd name="T10" fmla="*/ 20 w 579"/>
                  <a:gd name="T11" fmla="*/ 525 h 608"/>
                  <a:gd name="T12" fmla="*/ 0 w 579"/>
                  <a:gd name="T13" fmla="*/ 535 h 608"/>
                  <a:gd name="T14" fmla="*/ 1 w 579"/>
                  <a:gd name="T15" fmla="*/ 597 h 608"/>
                  <a:gd name="T16" fmla="*/ 119 w 579"/>
                  <a:gd name="T17" fmla="*/ 608 h 608"/>
                  <a:gd name="T18" fmla="*/ 577 w 579"/>
                  <a:gd name="T19" fmla="*/ 254 h 608"/>
                  <a:gd name="T20" fmla="*/ 577 w 579"/>
                  <a:gd name="T21" fmla="*/ 254 h 608"/>
                  <a:gd name="T22" fmla="*/ 579 w 579"/>
                  <a:gd name="T23" fmla="*/ 227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9" h="608">
                    <a:moveTo>
                      <a:pt x="579" y="227"/>
                    </a:moveTo>
                    <a:cubicBezTo>
                      <a:pt x="579" y="102"/>
                      <a:pt x="460" y="0"/>
                      <a:pt x="313" y="0"/>
                    </a:cubicBezTo>
                    <a:cubicBezTo>
                      <a:pt x="166" y="0"/>
                      <a:pt x="47" y="102"/>
                      <a:pt x="47" y="227"/>
                    </a:cubicBezTo>
                    <a:cubicBezTo>
                      <a:pt x="47" y="318"/>
                      <a:pt x="110" y="396"/>
                      <a:pt x="202" y="432"/>
                    </a:cubicBezTo>
                    <a:cubicBezTo>
                      <a:pt x="188" y="446"/>
                      <a:pt x="158" y="474"/>
                      <a:pt x="133" y="482"/>
                    </a:cubicBezTo>
                    <a:cubicBezTo>
                      <a:pt x="98" y="493"/>
                      <a:pt x="29" y="522"/>
                      <a:pt x="20" y="525"/>
                    </a:cubicBezTo>
                    <a:cubicBezTo>
                      <a:pt x="20" y="525"/>
                      <a:pt x="0" y="531"/>
                      <a:pt x="0" y="535"/>
                    </a:cubicBezTo>
                    <a:cubicBezTo>
                      <a:pt x="0" y="538"/>
                      <a:pt x="0" y="596"/>
                      <a:pt x="1" y="597"/>
                    </a:cubicBezTo>
                    <a:cubicBezTo>
                      <a:pt x="2" y="599"/>
                      <a:pt x="83" y="608"/>
                      <a:pt x="119" y="608"/>
                    </a:cubicBezTo>
                    <a:cubicBezTo>
                      <a:pt x="196" y="608"/>
                      <a:pt x="540" y="554"/>
                      <a:pt x="577" y="254"/>
                    </a:cubicBezTo>
                    <a:cubicBezTo>
                      <a:pt x="577" y="254"/>
                      <a:pt x="577" y="254"/>
                      <a:pt x="577" y="254"/>
                    </a:cubicBezTo>
                    <a:cubicBezTo>
                      <a:pt x="579" y="245"/>
                      <a:pt x="579" y="236"/>
                      <a:pt x="579" y="22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5" tIns="45679" rIns="91355" bIns="45679" numCol="1" anchor="t" anchorCtr="0" compatLnSpc="1">
                <a:prstTxWarp prst="textNoShape">
                  <a:avLst/>
                </a:prstTxWarp>
              </a:bodyPr>
              <a:lstStyle/>
              <a:p>
                <a:pPr marL="0" marR="0" lvl="0" indent="0" algn="l" defTabSz="91349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FFFFFF"/>
                  </a:solidFill>
                  <a:effectLst/>
                  <a:uLnTx/>
                  <a:uFillTx/>
                  <a:latin typeface="Segoe UI"/>
                  <a:ea typeface="+mn-ea"/>
                  <a:cs typeface="+mn-cs"/>
                </a:endParaRPr>
              </a:p>
            </p:txBody>
          </p:sp>
          <p:sp>
            <p:nvSpPr>
              <p:cNvPr id="27" name="Oval 6"/>
              <p:cNvSpPr>
                <a:spLocks noChangeArrowheads="1"/>
              </p:cNvSpPr>
              <p:nvPr/>
            </p:nvSpPr>
            <p:spPr bwMode="auto">
              <a:xfrm>
                <a:off x="285" y="164"/>
                <a:ext cx="726" cy="62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5" tIns="45679" rIns="91355" bIns="45679" numCol="1" anchor="t" anchorCtr="0" compatLnSpc="1">
                <a:prstTxWarp prst="textNoShape">
                  <a:avLst/>
                </a:prstTxWarp>
              </a:bodyPr>
              <a:lstStyle/>
              <a:p>
                <a:pPr marL="0" marR="0" lvl="0" indent="0" algn="l" defTabSz="91349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7" name="Group 6"/>
            <p:cNvGrpSpPr/>
            <p:nvPr/>
          </p:nvGrpSpPr>
          <p:grpSpPr>
            <a:xfrm>
              <a:off x="3500713" y="2444866"/>
              <a:ext cx="194724" cy="226309"/>
              <a:chOff x="-2547925" y="1237201"/>
              <a:chExt cx="441401" cy="512997"/>
            </a:xfrm>
          </p:grpSpPr>
          <p:sp>
            <p:nvSpPr>
              <p:cNvPr id="29" name="Freeform 201"/>
              <p:cNvSpPr>
                <a:spLocks noEditPoints="1"/>
              </p:cNvSpPr>
              <p:nvPr/>
            </p:nvSpPr>
            <p:spPr bwMode="auto">
              <a:xfrm>
                <a:off x="-2547925" y="1237201"/>
                <a:ext cx="441399" cy="512997"/>
              </a:xfrm>
              <a:custGeom>
                <a:avLst/>
                <a:gdLst>
                  <a:gd name="T0" fmla="*/ 61 w 72"/>
                  <a:gd name="T1" fmla="*/ 82 h 86"/>
                  <a:gd name="T2" fmla="*/ 36 w 72"/>
                  <a:gd name="T3" fmla="*/ 82 h 86"/>
                  <a:gd name="T4" fmla="*/ 11 w 72"/>
                  <a:gd name="T5" fmla="*/ 82 h 86"/>
                  <a:gd name="T6" fmla="*/ 4 w 72"/>
                  <a:gd name="T7" fmla="*/ 75 h 86"/>
                  <a:gd name="T8" fmla="*/ 28 w 72"/>
                  <a:gd name="T9" fmla="*/ 31 h 86"/>
                  <a:gd name="T10" fmla="*/ 29 w 72"/>
                  <a:gd name="T11" fmla="*/ 30 h 86"/>
                  <a:gd name="T12" fmla="*/ 29 w 72"/>
                  <a:gd name="T13" fmla="*/ 29 h 86"/>
                  <a:gd name="T14" fmla="*/ 29 w 72"/>
                  <a:gd name="T15" fmla="*/ 4 h 86"/>
                  <a:gd name="T16" fmla="*/ 43 w 72"/>
                  <a:gd name="T17" fmla="*/ 4 h 86"/>
                  <a:gd name="T18" fmla="*/ 43 w 72"/>
                  <a:gd name="T19" fmla="*/ 29 h 86"/>
                  <a:gd name="T20" fmla="*/ 43 w 72"/>
                  <a:gd name="T21" fmla="*/ 30 h 86"/>
                  <a:gd name="T22" fmla="*/ 44 w 72"/>
                  <a:gd name="T23" fmla="*/ 31 h 86"/>
                  <a:gd name="T24" fmla="*/ 68 w 72"/>
                  <a:gd name="T25" fmla="*/ 75 h 86"/>
                  <a:gd name="T26" fmla="*/ 61 w 72"/>
                  <a:gd name="T27" fmla="*/ 82 h 86"/>
                  <a:gd name="T28" fmla="*/ 47 w 72"/>
                  <a:gd name="T29" fmla="*/ 29 h 86"/>
                  <a:gd name="T30" fmla="*/ 47 w 72"/>
                  <a:gd name="T31" fmla="*/ 4 h 86"/>
                  <a:gd name="T32" fmla="*/ 50 w 72"/>
                  <a:gd name="T33" fmla="*/ 4 h 86"/>
                  <a:gd name="T34" fmla="*/ 50 w 72"/>
                  <a:gd name="T35" fmla="*/ 0 h 86"/>
                  <a:gd name="T36" fmla="*/ 47 w 72"/>
                  <a:gd name="T37" fmla="*/ 0 h 86"/>
                  <a:gd name="T38" fmla="*/ 36 w 72"/>
                  <a:gd name="T39" fmla="*/ 0 h 86"/>
                  <a:gd name="T40" fmla="*/ 25 w 72"/>
                  <a:gd name="T41" fmla="*/ 0 h 86"/>
                  <a:gd name="T42" fmla="*/ 22 w 72"/>
                  <a:gd name="T43" fmla="*/ 0 h 86"/>
                  <a:gd name="T44" fmla="*/ 22 w 72"/>
                  <a:gd name="T45" fmla="*/ 4 h 86"/>
                  <a:gd name="T46" fmla="*/ 25 w 72"/>
                  <a:gd name="T47" fmla="*/ 4 h 86"/>
                  <a:gd name="T48" fmla="*/ 25 w 72"/>
                  <a:gd name="T49" fmla="*/ 29 h 86"/>
                  <a:gd name="T50" fmla="*/ 0 w 72"/>
                  <a:gd name="T51" fmla="*/ 75 h 86"/>
                  <a:gd name="T52" fmla="*/ 11 w 72"/>
                  <a:gd name="T53" fmla="*/ 86 h 86"/>
                  <a:gd name="T54" fmla="*/ 36 w 72"/>
                  <a:gd name="T55" fmla="*/ 86 h 86"/>
                  <a:gd name="T56" fmla="*/ 61 w 72"/>
                  <a:gd name="T57" fmla="*/ 86 h 86"/>
                  <a:gd name="T58" fmla="*/ 72 w 72"/>
                  <a:gd name="T59" fmla="*/ 75 h 86"/>
                  <a:gd name="T60" fmla="*/ 47 w 72"/>
                  <a:gd name="T61" fmla="*/ 29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86">
                    <a:moveTo>
                      <a:pt x="61" y="82"/>
                    </a:moveTo>
                    <a:cubicBezTo>
                      <a:pt x="36" y="82"/>
                      <a:pt x="36" y="82"/>
                      <a:pt x="36" y="82"/>
                    </a:cubicBezTo>
                    <a:cubicBezTo>
                      <a:pt x="11" y="82"/>
                      <a:pt x="11" y="82"/>
                      <a:pt x="11" y="82"/>
                    </a:cubicBezTo>
                    <a:cubicBezTo>
                      <a:pt x="10" y="82"/>
                      <a:pt x="4" y="82"/>
                      <a:pt x="4" y="75"/>
                    </a:cubicBezTo>
                    <a:cubicBezTo>
                      <a:pt x="4" y="68"/>
                      <a:pt x="19" y="44"/>
                      <a:pt x="28" y="31"/>
                    </a:cubicBezTo>
                    <a:cubicBezTo>
                      <a:pt x="29" y="30"/>
                      <a:pt x="29" y="30"/>
                      <a:pt x="29" y="30"/>
                    </a:cubicBezTo>
                    <a:cubicBezTo>
                      <a:pt x="29" y="29"/>
                      <a:pt x="29" y="29"/>
                      <a:pt x="29" y="29"/>
                    </a:cubicBezTo>
                    <a:cubicBezTo>
                      <a:pt x="29" y="4"/>
                      <a:pt x="29" y="4"/>
                      <a:pt x="29" y="4"/>
                    </a:cubicBezTo>
                    <a:cubicBezTo>
                      <a:pt x="43" y="4"/>
                      <a:pt x="43" y="4"/>
                      <a:pt x="43" y="4"/>
                    </a:cubicBezTo>
                    <a:cubicBezTo>
                      <a:pt x="43" y="29"/>
                      <a:pt x="43" y="29"/>
                      <a:pt x="43" y="29"/>
                    </a:cubicBezTo>
                    <a:cubicBezTo>
                      <a:pt x="43" y="30"/>
                      <a:pt x="43" y="30"/>
                      <a:pt x="43" y="30"/>
                    </a:cubicBezTo>
                    <a:cubicBezTo>
                      <a:pt x="44" y="31"/>
                      <a:pt x="44" y="31"/>
                      <a:pt x="44" y="31"/>
                    </a:cubicBezTo>
                    <a:cubicBezTo>
                      <a:pt x="53" y="44"/>
                      <a:pt x="68" y="68"/>
                      <a:pt x="68" y="75"/>
                    </a:cubicBezTo>
                    <a:cubicBezTo>
                      <a:pt x="68" y="82"/>
                      <a:pt x="63" y="82"/>
                      <a:pt x="61" y="82"/>
                    </a:cubicBezTo>
                    <a:close/>
                    <a:moveTo>
                      <a:pt x="47" y="29"/>
                    </a:moveTo>
                    <a:cubicBezTo>
                      <a:pt x="47" y="4"/>
                      <a:pt x="47" y="4"/>
                      <a:pt x="47" y="4"/>
                    </a:cubicBezTo>
                    <a:cubicBezTo>
                      <a:pt x="50" y="4"/>
                      <a:pt x="50" y="4"/>
                      <a:pt x="50" y="4"/>
                    </a:cubicBezTo>
                    <a:cubicBezTo>
                      <a:pt x="50" y="0"/>
                      <a:pt x="50" y="0"/>
                      <a:pt x="50" y="0"/>
                    </a:cubicBezTo>
                    <a:cubicBezTo>
                      <a:pt x="47" y="0"/>
                      <a:pt x="47" y="0"/>
                      <a:pt x="47" y="0"/>
                    </a:cubicBezTo>
                    <a:cubicBezTo>
                      <a:pt x="36" y="0"/>
                      <a:pt x="36" y="0"/>
                      <a:pt x="36" y="0"/>
                    </a:cubicBezTo>
                    <a:cubicBezTo>
                      <a:pt x="25" y="0"/>
                      <a:pt x="25" y="0"/>
                      <a:pt x="25" y="0"/>
                    </a:cubicBezTo>
                    <a:cubicBezTo>
                      <a:pt x="22" y="0"/>
                      <a:pt x="22" y="0"/>
                      <a:pt x="22" y="0"/>
                    </a:cubicBezTo>
                    <a:cubicBezTo>
                      <a:pt x="22" y="4"/>
                      <a:pt x="22" y="4"/>
                      <a:pt x="22" y="4"/>
                    </a:cubicBezTo>
                    <a:cubicBezTo>
                      <a:pt x="25" y="4"/>
                      <a:pt x="25" y="4"/>
                      <a:pt x="25" y="4"/>
                    </a:cubicBezTo>
                    <a:cubicBezTo>
                      <a:pt x="25" y="29"/>
                      <a:pt x="25" y="29"/>
                      <a:pt x="25" y="29"/>
                    </a:cubicBezTo>
                    <a:cubicBezTo>
                      <a:pt x="25" y="29"/>
                      <a:pt x="0" y="65"/>
                      <a:pt x="0" y="75"/>
                    </a:cubicBezTo>
                    <a:cubicBezTo>
                      <a:pt x="0" y="86"/>
                      <a:pt x="11" y="86"/>
                      <a:pt x="11" y="86"/>
                    </a:cubicBezTo>
                    <a:cubicBezTo>
                      <a:pt x="36" y="86"/>
                      <a:pt x="36" y="86"/>
                      <a:pt x="36" y="86"/>
                    </a:cubicBezTo>
                    <a:cubicBezTo>
                      <a:pt x="61" y="86"/>
                      <a:pt x="61" y="86"/>
                      <a:pt x="61" y="86"/>
                    </a:cubicBezTo>
                    <a:cubicBezTo>
                      <a:pt x="61" y="86"/>
                      <a:pt x="72" y="86"/>
                      <a:pt x="72" y="75"/>
                    </a:cubicBezTo>
                    <a:cubicBezTo>
                      <a:pt x="72" y="65"/>
                      <a:pt x="47" y="29"/>
                      <a:pt x="47" y="29"/>
                    </a:cubicBezTo>
                    <a:close/>
                  </a:path>
                </a:pathLst>
              </a:custGeom>
              <a:solidFill>
                <a:srgbClr val="000000"/>
              </a:solidFill>
              <a:ln w="6350">
                <a:solidFill>
                  <a:srgbClr val="000000"/>
                </a:solidFill>
              </a:ln>
            </p:spPr>
            <p:txBody>
              <a:bodyPr vert="horz" wrap="square" lIns="91355" tIns="45679" rIns="91355" bIns="45679" numCol="1" anchor="t" anchorCtr="0" compatLnSpc="1">
                <a:prstTxWarp prst="textNoShape">
                  <a:avLst/>
                </a:prstTxWarp>
              </a:bodyPr>
              <a:lstStyle/>
              <a:p>
                <a:pPr marL="0" marR="0" lvl="0" indent="0" algn="l" defTabSz="913274" rtl="0" eaLnBrk="1" fontAlgn="auto" latinLnBrk="0" hangingPunct="1">
                  <a:lnSpc>
                    <a:spcPct val="100000"/>
                  </a:lnSpc>
                  <a:spcBef>
                    <a:spcPts val="0"/>
                  </a:spcBef>
                  <a:spcAft>
                    <a:spcPts val="0"/>
                  </a:spcAft>
                  <a:buClrTx/>
                  <a:buSzTx/>
                  <a:buFontTx/>
                  <a:buNone/>
                  <a:tabLst/>
                  <a:defRPr/>
                </a:pPr>
                <a:endParaRPr kumimoji="0" lang="en-US" sz="1698" b="0" i="0" u="none" strike="noStrike" kern="0" cap="none" spc="0" normalizeH="0" baseline="0" noProof="0">
                  <a:ln>
                    <a:noFill/>
                  </a:ln>
                  <a:solidFill>
                    <a:srgbClr val="000000"/>
                  </a:solidFill>
                  <a:effectLst/>
                  <a:uLnTx/>
                  <a:uFillTx/>
                  <a:latin typeface="Segoe UI"/>
                  <a:ea typeface="+mn-ea"/>
                  <a:cs typeface="+mn-cs"/>
                </a:endParaRPr>
              </a:p>
            </p:txBody>
          </p:sp>
          <p:sp>
            <p:nvSpPr>
              <p:cNvPr id="5" name="Trapezoid 4"/>
              <p:cNvSpPr/>
              <p:nvPr/>
            </p:nvSpPr>
            <p:spPr bwMode="auto">
              <a:xfrm>
                <a:off x="-2450516" y="1450690"/>
                <a:ext cx="343992" cy="273308"/>
              </a:xfrm>
              <a:prstGeom prst="trapezoid">
                <a:avLst>
                  <a:gd name="adj" fmla="val 44481"/>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12" tIns="146168" rIns="182712" bIns="146168" numCol="1" spcCol="0" rtlCol="0" fromWordArt="0" anchor="t" anchorCtr="0" forceAA="0" compatLnSpc="1">
                <a:prstTxWarp prst="textNoShape">
                  <a:avLst/>
                </a:prstTxWarp>
                <a:noAutofit/>
              </a:bodyPr>
              <a:lstStyle/>
              <a:p>
                <a:pPr marL="0" marR="0" lvl="0" indent="0" algn="ctr" defTabSz="931544" rtl="0" eaLnBrk="1" fontAlgn="base" latinLnBrk="0" hangingPunct="1">
                  <a:lnSpc>
                    <a:spcPct val="90000"/>
                  </a:lnSpc>
                  <a:spcBef>
                    <a:spcPct val="0"/>
                  </a:spcBef>
                  <a:spcAft>
                    <a:spcPct val="0"/>
                  </a:spcAft>
                  <a:buClrTx/>
                  <a:buSzTx/>
                  <a:buFontTx/>
                  <a:buNone/>
                  <a:tabLst/>
                  <a:defRPr/>
                </a:pPr>
                <a:endParaRPr kumimoji="0" lang="en-US" sz="239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5502082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xEl>
                                              <p:pRg st="0" end="0"/>
                                            </p:txEl>
                                          </p:spTgt>
                                        </p:tgtEl>
                                        <p:attrNameLst>
                                          <p:attrName>style.visibility</p:attrName>
                                        </p:attrNameLst>
                                      </p:cBhvr>
                                      <p:to>
                                        <p:strVal val="visible"/>
                                      </p:to>
                                    </p:set>
                                    <p:animEffect transition="in" filter="fade">
                                      <p:cBhvr>
                                        <p:cTn id="7" dur="500"/>
                                        <p:tgtEl>
                                          <p:spTgt spid="2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xEl>
                                              <p:pRg st="1" end="1"/>
                                            </p:txEl>
                                          </p:spTgt>
                                        </p:tgtEl>
                                        <p:attrNameLst>
                                          <p:attrName>style.visibility</p:attrName>
                                        </p:attrNameLst>
                                      </p:cBhvr>
                                      <p:to>
                                        <p:strVal val="visible"/>
                                      </p:to>
                                    </p:set>
                                    <p:animEffect transition="in" filter="fade">
                                      <p:cBhvr>
                                        <p:cTn id="12" dur="500"/>
                                        <p:tgtEl>
                                          <p:spTgt spid="2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0">
                                            <p:txEl>
                                              <p:pRg st="2" end="2"/>
                                            </p:txEl>
                                          </p:spTgt>
                                        </p:tgtEl>
                                        <p:attrNameLst>
                                          <p:attrName>style.visibility</p:attrName>
                                        </p:attrNameLst>
                                      </p:cBhvr>
                                      <p:to>
                                        <p:strVal val="visible"/>
                                      </p:to>
                                    </p:set>
                                    <p:animEffect transition="in" filter="fade">
                                      <p:cBhvr>
                                        <p:cTn id="17" dur="500"/>
                                        <p:tgtEl>
                                          <p:spTgt spid="2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0">
                                            <p:txEl>
                                              <p:pRg st="3" end="3"/>
                                            </p:txEl>
                                          </p:spTgt>
                                        </p:tgtEl>
                                        <p:attrNameLst>
                                          <p:attrName>style.visibility</p:attrName>
                                        </p:attrNameLst>
                                      </p:cBhvr>
                                      <p:to>
                                        <p:strVal val="visible"/>
                                      </p:to>
                                    </p:set>
                                    <p:animEffect transition="in" filter="fade">
                                      <p:cBhvr>
                                        <p:cTn id="22" dur="500"/>
                                        <p:tgtEl>
                                          <p:spTgt spid="20">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flipH="1">
            <a:off x="1764" y="3223"/>
            <a:ext cx="12476587" cy="6995242"/>
          </a:xfrm>
          <a:prstGeom prst="rect">
            <a:avLst/>
          </a:prstGeom>
        </p:spPr>
      </p:pic>
      <p:sp>
        <p:nvSpPr>
          <p:cNvPr id="16" name="Rectangle 15"/>
          <p:cNvSpPr/>
          <p:nvPr/>
        </p:nvSpPr>
        <p:spPr bwMode="auto">
          <a:xfrm>
            <a:off x="2707301" y="1213370"/>
            <a:ext cx="9445097" cy="5481345"/>
          </a:xfrm>
          <a:prstGeom prst="rect">
            <a:avLst/>
          </a:prstGeom>
          <a:solidFill>
            <a:srgbClr val="0078D7">
              <a:alpha val="92000"/>
            </a:srgbClr>
          </a:solidFill>
          <a:ln w="3175" cap="flat" cmpd="sng" algn="ctr">
            <a:noFill/>
            <a:prstDash val="solid"/>
            <a:headEnd type="none" w="med" len="med"/>
            <a:tailEnd type="none" w="med" len="med"/>
          </a:ln>
          <a:effectLst/>
        </p:spPr>
        <p:txBody>
          <a:bodyPr vert="horz" wrap="square" lIns="0" tIns="47522" rIns="0" bIns="47522" numCol="1" rtlCol="0" anchor="ctr" anchorCtr="0" compatLnSpc="1">
            <a:prstTxWarp prst="textNoShape">
              <a:avLst/>
            </a:prstTxWarp>
          </a:bodyPr>
          <a:lstStyle/>
          <a:p>
            <a:pPr marL="0" marR="0" lvl="0" indent="0" algn="ctr" defTabSz="950081" rtl="0" eaLnBrk="1" fontAlgn="base" latinLnBrk="0" hangingPunct="1">
              <a:lnSpc>
                <a:spcPct val="100000"/>
              </a:lnSpc>
              <a:spcBef>
                <a:spcPct val="0"/>
              </a:spcBef>
              <a:spcAft>
                <a:spcPct val="0"/>
              </a:spcAft>
              <a:buClrTx/>
              <a:buSzTx/>
              <a:buFontTx/>
              <a:buNone/>
              <a:tabLst/>
              <a:defRPr/>
            </a:pPr>
            <a:endParaRPr kumimoji="0" lang="en-US" sz="203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 name="Title 1"/>
          <p:cNvSpPr txBox="1">
            <a:spLocks/>
          </p:cNvSpPr>
          <p:nvPr/>
        </p:nvSpPr>
        <p:spPr>
          <a:xfrm>
            <a:off x="4417035" y="1104263"/>
            <a:ext cx="6199877" cy="1124652"/>
          </a:xfrm>
          <a:prstGeom prst="rect">
            <a:avLst/>
          </a:prstGeom>
        </p:spPr>
        <p:txBody>
          <a:bodyPr vert="horz" lIns="93161" tIns="46579" rIns="93161" bIns="46579" rtlCol="0" anchor="b">
            <a:norm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31668" rtl="0" eaLnBrk="1" fontAlgn="auto" latinLnBrk="0" hangingPunct="1">
              <a:lnSpc>
                <a:spcPct val="90000"/>
              </a:lnSpc>
              <a:spcBef>
                <a:spcPct val="0"/>
              </a:spcBef>
              <a:spcAft>
                <a:spcPts val="0"/>
              </a:spcAft>
              <a:buClrTx/>
              <a:buSzTx/>
              <a:buFontTx/>
              <a:buNone/>
              <a:tabLst/>
              <a:defRPr/>
            </a:pPr>
            <a:r>
              <a:rPr kumimoji="0" lang="en-US" sz="5393"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Light"/>
                <a:ea typeface="+mj-ea"/>
                <a:cs typeface="+mj-cs"/>
              </a:rPr>
              <a:t>Text analytics</a:t>
            </a:r>
          </a:p>
        </p:txBody>
      </p:sp>
      <p:sp>
        <p:nvSpPr>
          <p:cNvPr id="19" name="Freeform 5"/>
          <p:cNvSpPr>
            <a:spLocks/>
          </p:cNvSpPr>
          <p:nvPr/>
        </p:nvSpPr>
        <p:spPr bwMode="auto">
          <a:xfrm>
            <a:off x="2700819" y="1213371"/>
            <a:ext cx="1884250" cy="1041497"/>
          </a:xfrm>
          <a:custGeom>
            <a:avLst/>
            <a:gdLst>
              <a:gd name="T0" fmla="*/ 914 w 1165"/>
              <a:gd name="T1" fmla="*/ 578 h 578"/>
              <a:gd name="T2" fmla="*/ 0 w 1165"/>
              <a:gd name="T3" fmla="*/ 578 h 578"/>
              <a:gd name="T4" fmla="*/ 0 w 1165"/>
              <a:gd name="T5" fmla="*/ 0 h 578"/>
              <a:gd name="T6" fmla="*/ 1165 w 1165"/>
              <a:gd name="T7" fmla="*/ 0 h 578"/>
              <a:gd name="T8" fmla="*/ 914 w 1165"/>
              <a:gd name="T9" fmla="*/ 578 h 578"/>
              <a:gd name="T10" fmla="*/ 914 w 1165"/>
              <a:gd name="T11" fmla="*/ 578 h 578"/>
              <a:gd name="T12" fmla="*/ 914 w 1165"/>
              <a:gd name="T13" fmla="*/ 578 h 578"/>
            </a:gdLst>
            <a:ahLst/>
            <a:cxnLst>
              <a:cxn ang="0">
                <a:pos x="T0" y="T1"/>
              </a:cxn>
              <a:cxn ang="0">
                <a:pos x="T2" y="T3"/>
              </a:cxn>
              <a:cxn ang="0">
                <a:pos x="T4" y="T5"/>
              </a:cxn>
              <a:cxn ang="0">
                <a:pos x="T6" y="T7"/>
              </a:cxn>
              <a:cxn ang="0">
                <a:pos x="T8" y="T9"/>
              </a:cxn>
              <a:cxn ang="0">
                <a:pos x="T10" y="T11"/>
              </a:cxn>
              <a:cxn ang="0">
                <a:pos x="T12" y="T13"/>
              </a:cxn>
            </a:cxnLst>
            <a:rect l="0" t="0" r="r" b="b"/>
            <a:pathLst>
              <a:path w="1165" h="578">
                <a:moveTo>
                  <a:pt x="914" y="578"/>
                </a:moveTo>
                <a:lnTo>
                  <a:pt x="0" y="578"/>
                </a:lnTo>
                <a:lnTo>
                  <a:pt x="0" y="0"/>
                </a:lnTo>
                <a:lnTo>
                  <a:pt x="1165" y="0"/>
                </a:lnTo>
                <a:lnTo>
                  <a:pt x="914" y="578"/>
                </a:lnTo>
                <a:lnTo>
                  <a:pt x="914" y="578"/>
                </a:lnTo>
                <a:lnTo>
                  <a:pt x="914" y="5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61" tIns="46579" rIns="93161" bIns="46579" numCol="1" anchor="t" anchorCtr="0" compatLnSpc="1">
            <a:prstTxWarp prst="textNoShape">
              <a:avLst/>
            </a:prstTxWarp>
          </a:bodyPr>
          <a:lstStyle/>
          <a:p>
            <a:pPr marL="0" marR="0" lvl="0" indent="0" algn="l" defTabSz="931489" rtl="0"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a:ln>
                <a:noFill/>
              </a:ln>
              <a:solidFill>
                <a:srgbClr val="404040"/>
              </a:solidFill>
              <a:effectLst/>
              <a:uLnTx/>
              <a:uFillTx/>
              <a:latin typeface="Segoe UI"/>
              <a:ea typeface="+mn-ea"/>
              <a:cs typeface="+mn-cs"/>
            </a:endParaRPr>
          </a:p>
        </p:txBody>
      </p:sp>
      <p:sp>
        <p:nvSpPr>
          <p:cNvPr id="20" name="Rectangle 19"/>
          <p:cNvSpPr/>
          <p:nvPr/>
        </p:nvSpPr>
        <p:spPr>
          <a:xfrm>
            <a:off x="3016823" y="2369921"/>
            <a:ext cx="9135576" cy="4271426"/>
          </a:xfrm>
          <a:prstGeom prst="rect">
            <a:avLst/>
          </a:prstGeom>
        </p:spPr>
        <p:txBody>
          <a:bodyPr wrap="square">
            <a:spAutoFit/>
          </a:bodyPr>
          <a:lstStyle/>
          <a:p>
            <a:pPr marL="0" marR="0" lvl="0" indent="0" algn="l" defTabSz="913490" rtl="0" eaLnBrk="1" fontAlgn="auto" latinLnBrk="0" hangingPunct="1">
              <a:lnSpc>
                <a:spcPct val="90000"/>
              </a:lnSpc>
              <a:spcBef>
                <a:spcPts val="0"/>
              </a:spcBef>
              <a:spcAft>
                <a:spcPts val="1798"/>
              </a:spcAft>
              <a:buClrTx/>
              <a:buSzTx/>
              <a:buFontTx/>
              <a:buNone/>
              <a:tabLst/>
              <a:defRPr/>
            </a:pPr>
            <a:r>
              <a:rPr kumimoji="0" lang="en-US" altLang="zh-CN" sz="3296"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Sentiment analysis </a:t>
            </a:r>
            <a:r>
              <a:rPr kumimoji="0" lang="en-US" sz="2100" b="1" i="0" u="none" strike="noStrike" kern="0" cap="none" spc="0" normalizeH="0" baseline="0" noProof="0" dirty="0">
                <a:ln>
                  <a:noFill/>
                </a:ln>
                <a:solidFill>
                  <a:srgbClr val="FFFF00"/>
                </a:solidFill>
                <a:effectLst/>
                <a:uLnTx/>
                <a:uFillTx/>
                <a:latin typeface="Segoe UI"/>
                <a:ea typeface="+mn-ea"/>
                <a:cs typeface="+mn-cs"/>
              </a:rPr>
              <a:t>English, Spanish, French, and Portuguese</a:t>
            </a:r>
            <a:br>
              <a:rPr kumimoji="0" lang="en-US" altLang="zh-CN" sz="3796"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altLang="zh-CN" sz="2398"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nderstand if a record has positive or negative sentiment</a:t>
            </a:r>
          </a:p>
          <a:p>
            <a:pPr marL="0" marR="0" lvl="0" indent="0" algn="l" defTabSz="913490" rtl="0" eaLnBrk="1" fontAlgn="auto" latinLnBrk="0" hangingPunct="1">
              <a:lnSpc>
                <a:spcPct val="90000"/>
              </a:lnSpc>
              <a:spcBef>
                <a:spcPts val="0"/>
              </a:spcBef>
              <a:spcAft>
                <a:spcPts val="1798"/>
              </a:spcAft>
              <a:buClrTx/>
              <a:buSzTx/>
              <a:buFontTx/>
              <a:buNone/>
              <a:tabLst/>
              <a:defRPr/>
            </a:pPr>
            <a:r>
              <a:rPr kumimoji="0" lang="en-US" altLang="zh-CN" sz="3296"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Key phrase extraction </a:t>
            </a:r>
            <a:r>
              <a:rPr kumimoji="0" lang="en-US" sz="2100" b="1" i="0" u="none" strike="noStrike" kern="0" cap="none" spc="0" normalizeH="0" baseline="0" noProof="0" dirty="0">
                <a:ln>
                  <a:noFill/>
                </a:ln>
                <a:solidFill>
                  <a:srgbClr val="FFFF00"/>
                </a:solidFill>
                <a:effectLst/>
                <a:uLnTx/>
                <a:uFillTx/>
                <a:latin typeface="Segoe UI"/>
                <a:ea typeface="+mn-ea"/>
                <a:cs typeface="+mn-cs"/>
              </a:rPr>
              <a:t>English, Spanish, German, and Japanese</a:t>
            </a:r>
            <a:br>
              <a:rPr kumimoji="0" lang="en-US" altLang="zh-CN" sz="3796"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altLang="zh-CN" sz="2398"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xtract key phrases from a piece of text, and retrieve topics</a:t>
            </a:r>
          </a:p>
          <a:p>
            <a:pPr marL="0" marR="0" lvl="0" indent="0" algn="l" defTabSz="913490" rtl="0" eaLnBrk="1" fontAlgn="auto" latinLnBrk="0" hangingPunct="1">
              <a:lnSpc>
                <a:spcPct val="90000"/>
              </a:lnSpc>
              <a:spcBef>
                <a:spcPts val="0"/>
              </a:spcBef>
              <a:spcAft>
                <a:spcPts val="1798"/>
              </a:spcAft>
              <a:buClrTx/>
              <a:buSzTx/>
              <a:buFontTx/>
              <a:buNone/>
              <a:tabLst/>
              <a:defRPr/>
            </a:pPr>
            <a:r>
              <a:rPr kumimoji="0" lang="en-US" altLang="zh-CN" sz="3296"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Topic detection </a:t>
            </a:r>
            <a:r>
              <a:rPr kumimoji="0" lang="en-US" sz="2100" b="1" i="0" u="none" strike="noStrike" kern="0" cap="none" spc="0" normalizeH="0" baseline="0" noProof="0" dirty="0">
                <a:ln>
                  <a:noFill/>
                </a:ln>
                <a:solidFill>
                  <a:srgbClr val="FFFF00"/>
                </a:solidFill>
                <a:effectLst/>
                <a:uLnTx/>
                <a:uFillTx/>
                <a:latin typeface="Segoe UI"/>
                <a:ea typeface="+mn-ea"/>
                <a:cs typeface="+mn-cs"/>
              </a:rPr>
              <a:t>English</a:t>
            </a:r>
            <a:br>
              <a:rPr kumimoji="0" lang="en-US" altLang="zh-CN" sz="3796"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altLang="zh-CN" sz="2398"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 clustering techniques to identify the trending topics </a:t>
            </a:r>
            <a:br>
              <a:rPr kumimoji="0" lang="en-US" altLang="zh-CN" sz="2398"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2398"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n a large set of text records</a:t>
            </a:r>
          </a:p>
          <a:p>
            <a:pPr marL="0" marR="0" lvl="0" indent="0" algn="l" defTabSz="913490" rtl="0" eaLnBrk="1" fontAlgn="auto" latinLnBrk="0" hangingPunct="1">
              <a:lnSpc>
                <a:spcPct val="90000"/>
              </a:lnSpc>
              <a:spcBef>
                <a:spcPts val="0"/>
              </a:spcBef>
              <a:spcAft>
                <a:spcPts val="1798"/>
              </a:spcAft>
              <a:buClrTx/>
              <a:buSzTx/>
              <a:buFontTx/>
              <a:buNone/>
              <a:tabLst/>
              <a:defRPr/>
            </a:pPr>
            <a:r>
              <a:rPr kumimoji="0" lang="en-US" altLang="zh-CN" sz="3296"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Language detection </a:t>
            </a:r>
            <a:br>
              <a:rPr kumimoji="0" lang="en-US" altLang="zh-CN" sz="3296"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altLang="zh-CN" sz="2398"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Identify the language, 120 supported languages</a:t>
            </a:r>
          </a:p>
        </p:txBody>
      </p:sp>
      <p:grpSp>
        <p:nvGrpSpPr>
          <p:cNvPr id="9" name="Group 8"/>
          <p:cNvGrpSpPr/>
          <p:nvPr/>
        </p:nvGrpSpPr>
        <p:grpSpPr>
          <a:xfrm>
            <a:off x="3172158" y="1335959"/>
            <a:ext cx="773540" cy="811762"/>
            <a:chOff x="3173318" y="2248368"/>
            <a:chExt cx="774252" cy="812510"/>
          </a:xfrm>
        </p:grpSpPr>
        <p:grpSp>
          <p:nvGrpSpPr>
            <p:cNvPr id="22" name="Group 4"/>
            <p:cNvGrpSpPr>
              <a:grpSpLocks noChangeAspect="1"/>
            </p:cNvGrpSpPr>
            <p:nvPr/>
          </p:nvGrpSpPr>
          <p:grpSpPr bwMode="auto">
            <a:xfrm>
              <a:off x="3173318" y="2248368"/>
              <a:ext cx="774252" cy="812510"/>
              <a:chOff x="2" y="1"/>
              <a:chExt cx="1194" cy="1253"/>
            </a:xfrm>
          </p:grpSpPr>
          <p:sp>
            <p:nvSpPr>
              <p:cNvPr id="26" name="Freeform 5"/>
              <p:cNvSpPr>
                <a:spLocks/>
              </p:cNvSpPr>
              <p:nvPr/>
            </p:nvSpPr>
            <p:spPr bwMode="auto">
              <a:xfrm>
                <a:off x="2" y="1"/>
                <a:ext cx="1194" cy="1253"/>
              </a:xfrm>
              <a:custGeom>
                <a:avLst/>
                <a:gdLst>
                  <a:gd name="T0" fmla="*/ 579 w 579"/>
                  <a:gd name="T1" fmla="*/ 227 h 608"/>
                  <a:gd name="T2" fmla="*/ 313 w 579"/>
                  <a:gd name="T3" fmla="*/ 0 h 608"/>
                  <a:gd name="T4" fmla="*/ 47 w 579"/>
                  <a:gd name="T5" fmla="*/ 227 h 608"/>
                  <a:gd name="T6" fmla="*/ 202 w 579"/>
                  <a:gd name="T7" fmla="*/ 432 h 608"/>
                  <a:gd name="T8" fmla="*/ 133 w 579"/>
                  <a:gd name="T9" fmla="*/ 482 h 608"/>
                  <a:gd name="T10" fmla="*/ 20 w 579"/>
                  <a:gd name="T11" fmla="*/ 525 h 608"/>
                  <a:gd name="T12" fmla="*/ 0 w 579"/>
                  <a:gd name="T13" fmla="*/ 535 h 608"/>
                  <a:gd name="T14" fmla="*/ 1 w 579"/>
                  <a:gd name="T15" fmla="*/ 597 h 608"/>
                  <a:gd name="T16" fmla="*/ 119 w 579"/>
                  <a:gd name="T17" fmla="*/ 608 h 608"/>
                  <a:gd name="T18" fmla="*/ 577 w 579"/>
                  <a:gd name="T19" fmla="*/ 254 h 608"/>
                  <a:gd name="T20" fmla="*/ 577 w 579"/>
                  <a:gd name="T21" fmla="*/ 254 h 608"/>
                  <a:gd name="T22" fmla="*/ 579 w 579"/>
                  <a:gd name="T23" fmla="*/ 227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9" h="608">
                    <a:moveTo>
                      <a:pt x="579" y="227"/>
                    </a:moveTo>
                    <a:cubicBezTo>
                      <a:pt x="579" y="102"/>
                      <a:pt x="460" y="0"/>
                      <a:pt x="313" y="0"/>
                    </a:cubicBezTo>
                    <a:cubicBezTo>
                      <a:pt x="166" y="0"/>
                      <a:pt x="47" y="102"/>
                      <a:pt x="47" y="227"/>
                    </a:cubicBezTo>
                    <a:cubicBezTo>
                      <a:pt x="47" y="318"/>
                      <a:pt x="110" y="396"/>
                      <a:pt x="202" y="432"/>
                    </a:cubicBezTo>
                    <a:cubicBezTo>
                      <a:pt x="188" y="446"/>
                      <a:pt x="158" y="474"/>
                      <a:pt x="133" y="482"/>
                    </a:cubicBezTo>
                    <a:cubicBezTo>
                      <a:pt x="98" y="493"/>
                      <a:pt x="29" y="522"/>
                      <a:pt x="20" y="525"/>
                    </a:cubicBezTo>
                    <a:cubicBezTo>
                      <a:pt x="20" y="525"/>
                      <a:pt x="0" y="531"/>
                      <a:pt x="0" y="535"/>
                    </a:cubicBezTo>
                    <a:cubicBezTo>
                      <a:pt x="0" y="538"/>
                      <a:pt x="0" y="596"/>
                      <a:pt x="1" y="597"/>
                    </a:cubicBezTo>
                    <a:cubicBezTo>
                      <a:pt x="2" y="599"/>
                      <a:pt x="83" y="608"/>
                      <a:pt x="119" y="608"/>
                    </a:cubicBezTo>
                    <a:cubicBezTo>
                      <a:pt x="196" y="608"/>
                      <a:pt x="540" y="554"/>
                      <a:pt x="577" y="254"/>
                    </a:cubicBezTo>
                    <a:cubicBezTo>
                      <a:pt x="577" y="254"/>
                      <a:pt x="577" y="254"/>
                      <a:pt x="577" y="254"/>
                    </a:cubicBezTo>
                    <a:cubicBezTo>
                      <a:pt x="579" y="245"/>
                      <a:pt x="579" y="236"/>
                      <a:pt x="579" y="22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5" tIns="45679" rIns="91355" bIns="45679" numCol="1" anchor="t" anchorCtr="0" compatLnSpc="1">
                <a:prstTxWarp prst="textNoShape">
                  <a:avLst/>
                </a:prstTxWarp>
              </a:bodyPr>
              <a:lstStyle/>
              <a:p>
                <a:pPr marL="0" marR="0" lvl="0" indent="0" algn="l" defTabSz="91349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FFFFFF"/>
                  </a:solidFill>
                  <a:effectLst/>
                  <a:uLnTx/>
                  <a:uFillTx/>
                  <a:latin typeface="Segoe UI"/>
                  <a:ea typeface="+mn-ea"/>
                  <a:cs typeface="+mn-cs"/>
                </a:endParaRPr>
              </a:p>
            </p:txBody>
          </p:sp>
          <p:sp>
            <p:nvSpPr>
              <p:cNvPr id="27" name="Oval 6"/>
              <p:cNvSpPr>
                <a:spLocks noChangeArrowheads="1"/>
              </p:cNvSpPr>
              <p:nvPr/>
            </p:nvSpPr>
            <p:spPr bwMode="auto">
              <a:xfrm>
                <a:off x="285" y="164"/>
                <a:ext cx="726" cy="62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5" tIns="45679" rIns="91355" bIns="45679" numCol="1" anchor="t" anchorCtr="0" compatLnSpc="1">
                <a:prstTxWarp prst="textNoShape">
                  <a:avLst/>
                </a:prstTxWarp>
              </a:bodyPr>
              <a:lstStyle/>
              <a:p>
                <a:pPr marL="0" marR="0" lvl="0" indent="0" algn="l" defTabSz="91349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7" name="Group 6"/>
            <p:cNvGrpSpPr/>
            <p:nvPr/>
          </p:nvGrpSpPr>
          <p:grpSpPr>
            <a:xfrm>
              <a:off x="3500713" y="2444866"/>
              <a:ext cx="194724" cy="226309"/>
              <a:chOff x="-2547925" y="1237201"/>
              <a:chExt cx="441401" cy="512997"/>
            </a:xfrm>
          </p:grpSpPr>
          <p:sp>
            <p:nvSpPr>
              <p:cNvPr id="29" name="Freeform 201"/>
              <p:cNvSpPr>
                <a:spLocks noEditPoints="1"/>
              </p:cNvSpPr>
              <p:nvPr/>
            </p:nvSpPr>
            <p:spPr bwMode="auto">
              <a:xfrm>
                <a:off x="-2547925" y="1237201"/>
                <a:ext cx="441399" cy="512997"/>
              </a:xfrm>
              <a:custGeom>
                <a:avLst/>
                <a:gdLst>
                  <a:gd name="T0" fmla="*/ 61 w 72"/>
                  <a:gd name="T1" fmla="*/ 82 h 86"/>
                  <a:gd name="T2" fmla="*/ 36 w 72"/>
                  <a:gd name="T3" fmla="*/ 82 h 86"/>
                  <a:gd name="T4" fmla="*/ 11 w 72"/>
                  <a:gd name="T5" fmla="*/ 82 h 86"/>
                  <a:gd name="T6" fmla="*/ 4 w 72"/>
                  <a:gd name="T7" fmla="*/ 75 h 86"/>
                  <a:gd name="T8" fmla="*/ 28 w 72"/>
                  <a:gd name="T9" fmla="*/ 31 h 86"/>
                  <a:gd name="T10" fmla="*/ 29 w 72"/>
                  <a:gd name="T11" fmla="*/ 30 h 86"/>
                  <a:gd name="T12" fmla="*/ 29 w 72"/>
                  <a:gd name="T13" fmla="*/ 29 h 86"/>
                  <a:gd name="T14" fmla="*/ 29 w 72"/>
                  <a:gd name="T15" fmla="*/ 4 h 86"/>
                  <a:gd name="T16" fmla="*/ 43 w 72"/>
                  <a:gd name="T17" fmla="*/ 4 h 86"/>
                  <a:gd name="T18" fmla="*/ 43 w 72"/>
                  <a:gd name="T19" fmla="*/ 29 h 86"/>
                  <a:gd name="T20" fmla="*/ 43 w 72"/>
                  <a:gd name="T21" fmla="*/ 30 h 86"/>
                  <a:gd name="T22" fmla="*/ 44 w 72"/>
                  <a:gd name="T23" fmla="*/ 31 h 86"/>
                  <a:gd name="T24" fmla="*/ 68 w 72"/>
                  <a:gd name="T25" fmla="*/ 75 h 86"/>
                  <a:gd name="T26" fmla="*/ 61 w 72"/>
                  <a:gd name="T27" fmla="*/ 82 h 86"/>
                  <a:gd name="T28" fmla="*/ 47 w 72"/>
                  <a:gd name="T29" fmla="*/ 29 h 86"/>
                  <a:gd name="T30" fmla="*/ 47 w 72"/>
                  <a:gd name="T31" fmla="*/ 4 h 86"/>
                  <a:gd name="T32" fmla="*/ 50 w 72"/>
                  <a:gd name="T33" fmla="*/ 4 h 86"/>
                  <a:gd name="T34" fmla="*/ 50 w 72"/>
                  <a:gd name="T35" fmla="*/ 0 h 86"/>
                  <a:gd name="T36" fmla="*/ 47 w 72"/>
                  <a:gd name="T37" fmla="*/ 0 h 86"/>
                  <a:gd name="T38" fmla="*/ 36 w 72"/>
                  <a:gd name="T39" fmla="*/ 0 h 86"/>
                  <a:gd name="T40" fmla="*/ 25 w 72"/>
                  <a:gd name="T41" fmla="*/ 0 h 86"/>
                  <a:gd name="T42" fmla="*/ 22 w 72"/>
                  <a:gd name="T43" fmla="*/ 0 h 86"/>
                  <a:gd name="T44" fmla="*/ 22 w 72"/>
                  <a:gd name="T45" fmla="*/ 4 h 86"/>
                  <a:gd name="T46" fmla="*/ 25 w 72"/>
                  <a:gd name="T47" fmla="*/ 4 h 86"/>
                  <a:gd name="T48" fmla="*/ 25 w 72"/>
                  <a:gd name="T49" fmla="*/ 29 h 86"/>
                  <a:gd name="T50" fmla="*/ 0 w 72"/>
                  <a:gd name="T51" fmla="*/ 75 h 86"/>
                  <a:gd name="T52" fmla="*/ 11 w 72"/>
                  <a:gd name="T53" fmla="*/ 86 h 86"/>
                  <a:gd name="T54" fmla="*/ 36 w 72"/>
                  <a:gd name="T55" fmla="*/ 86 h 86"/>
                  <a:gd name="T56" fmla="*/ 61 w 72"/>
                  <a:gd name="T57" fmla="*/ 86 h 86"/>
                  <a:gd name="T58" fmla="*/ 72 w 72"/>
                  <a:gd name="T59" fmla="*/ 75 h 86"/>
                  <a:gd name="T60" fmla="*/ 47 w 72"/>
                  <a:gd name="T61" fmla="*/ 29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86">
                    <a:moveTo>
                      <a:pt x="61" y="82"/>
                    </a:moveTo>
                    <a:cubicBezTo>
                      <a:pt x="36" y="82"/>
                      <a:pt x="36" y="82"/>
                      <a:pt x="36" y="82"/>
                    </a:cubicBezTo>
                    <a:cubicBezTo>
                      <a:pt x="11" y="82"/>
                      <a:pt x="11" y="82"/>
                      <a:pt x="11" y="82"/>
                    </a:cubicBezTo>
                    <a:cubicBezTo>
                      <a:pt x="10" y="82"/>
                      <a:pt x="4" y="82"/>
                      <a:pt x="4" y="75"/>
                    </a:cubicBezTo>
                    <a:cubicBezTo>
                      <a:pt x="4" y="68"/>
                      <a:pt x="19" y="44"/>
                      <a:pt x="28" y="31"/>
                    </a:cubicBezTo>
                    <a:cubicBezTo>
                      <a:pt x="29" y="30"/>
                      <a:pt x="29" y="30"/>
                      <a:pt x="29" y="30"/>
                    </a:cubicBezTo>
                    <a:cubicBezTo>
                      <a:pt x="29" y="29"/>
                      <a:pt x="29" y="29"/>
                      <a:pt x="29" y="29"/>
                    </a:cubicBezTo>
                    <a:cubicBezTo>
                      <a:pt x="29" y="4"/>
                      <a:pt x="29" y="4"/>
                      <a:pt x="29" y="4"/>
                    </a:cubicBezTo>
                    <a:cubicBezTo>
                      <a:pt x="43" y="4"/>
                      <a:pt x="43" y="4"/>
                      <a:pt x="43" y="4"/>
                    </a:cubicBezTo>
                    <a:cubicBezTo>
                      <a:pt x="43" y="29"/>
                      <a:pt x="43" y="29"/>
                      <a:pt x="43" y="29"/>
                    </a:cubicBezTo>
                    <a:cubicBezTo>
                      <a:pt x="43" y="30"/>
                      <a:pt x="43" y="30"/>
                      <a:pt x="43" y="30"/>
                    </a:cubicBezTo>
                    <a:cubicBezTo>
                      <a:pt x="44" y="31"/>
                      <a:pt x="44" y="31"/>
                      <a:pt x="44" y="31"/>
                    </a:cubicBezTo>
                    <a:cubicBezTo>
                      <a:pt x="53" y="44"/>
                      <a:pt x="68" y="68"/>
                      <a:pt x="68" y="75"/>
                    </a:cubicBezTo>
                    <a:cubicBezTo>
                      <a:pt x="68" y="82"/>
                      <a:pt x="63" y="82"/>
                      <a:pt x="61" y="82"/>
                    </a:cubicBezTo>
                    <a:close/>
                    <a:moveTo>
                      <a:pt x="47" y="29"/>
                    </a:moveTo>
                    <a:cubicBezTo>
                      <a:pt x="47" y="4"/>
                      <a:pt x="47" y="4"/>
                      <a:pt x="47" y="4"/>
                    </a:cubicBezTo>
                    <a:cubicBezTo>
                      <a:pt x="50" y="4"/>
                      <a:pt x="50" y="4"/>
                      <a:pt x="50" y="4"/>
                    </a:cubicBezTo>
                    <a:cubicBezTo>
                      <a:pt x="50" y="0"/>
                      <a:pt x="50" y="0"/>
                      <a:pt x="50" y="0"/>
                    </a:cubicBezTo>
                    <a:cubicBezTo>
                      <a:pt x="47" y="0"/>
                      <a:pt x="47" y="0"/>
                      <a:pt x="47" y="0"/>
                    </a:cubicBezTo>
                    <a:cubicBezTo>
                      <a:pt x="36" y="0"/>
                      <a:pt x="36" y="0"/>
                      <a:pt x="36" y="0"/>
                    </a:cubicBezTo>
                    <a:cubicBezTo>
                      <a:pt x="25" y="0"/>
                      <a:pt x="25" y="0"/>
                      <a:pt x="25" y="0"/>
                    </a:cubicBezTo>
                    <a:cubicBezTo>
                      <a:pt x="22" y="0"/>
                      <a:pt x="22" y="0"/>
                      <a:pt x="22" y="0"/>
                    </a:cubicBezTo>
                    <a:cubicBezTo>
                      <a:pt x="22" y="4"/>
                      <a:pt x="22" y="4"/>
                      <a:pt x="22" y="4"/>
                    </a:cubicBezTo>
                    <a:cubicBezTo>
                      <a:pt x="25" y="4"/>
                      <a:pt x="25" y="4"/>
                      <a:pt x="25" y="4"/>
                    </a:cubicBezTo>
                    <a:cubicBezTo>
                      <a:pt x="25" y="29"/>
                      <a:pt x="25" y="29"/>
                      <a:pt x="25" y="29"/>
                    </a:cubicBezTo>
                    <a:cubicBezTo>
                      <a:pt x="25" y="29"/>
                      <a:pt x="0" y="65"/>
                      <a:pt x="0" y="75"/>
                    </a:cubicBezTo>
                    <a:cubicBezTo>
                      <a:pt x="0" y="86"/>
                      <a:pt x="11" y="86"/>
                      <a:pt x="11" y="86"/>
                    </a:cubicBezTo>
                    <a:cubicBezTo>
                      <a:pt x="36" y="86"/>
                      <a:pt x="36" y="86"/>
                      <a:pt x="36" y="86"/>
                    </a:cubicBezTo>
                    <a:cubicBezTo>
                      <a:pt x="61" y="86"/>
                      <a:pt x="61" y="86"/>
                      <a:pt x="61" y="86"/>
                    </a:cubicBezTo>
                    <a:cubicBezTo>
                      <a:pt x="61" y="86"/>
                      <a:pt x="72" y="86"/>
                      <a:pt x="72" y="75"/>
                    </a:cubicBezTo>
                    <a:cubicBezTo>
                      <a:pt x="72" y="65"/>
                      <a:pt x="47" y="29"/>
                      <a:pt x="47" y="29"/>
                    </a:cubicBezTo>
                    <a:close/>
                  </a:path>
                </a:pathLst>
              </a:custGeom>
              <a:solidFill>
                <a:srgbClr val="000000"/>
              </a:solidFill>
              <a:ln w="6350">
                <a:solidFill>
                  <a:srgbClr val="000000"/>
                </a:solidFill>
              </a:ln>
            </p:spPr>
            <p:txBody>
              <a:bodyPr vert="horz" wrap="square" lIns="91355" tIns="45679" rIns="91355" bIns="45679" numCol="1" anchor="t" anchorCtr="0" compatLnSpc="1">
                <a:prstTxWarp prst="textNoShape">
                  <a:avLst/>
                </a:prstTxWarp>
              </a:bodyPr>
              <a:lstStyle/>
              <a:p>
                <a:pPr marL="0" marR="0" lvl="0" indent="0" algn="l" defTabSz="913274" rtl="0" eaLnBrk="1" fontAlgn="auto" latinLnBrk="0" hangingPunct="1">
                  <a:lnSpc>
                    <a:spcPct val="100000"/>
                  </a:lnSpc>
                  <a:spcBef>
                    <a:spcPts val="0"/>
                  </a:spcBef>
                  <a:spcAft>
                    <a:spcPts val="0"/>
                  </a:spcAft>
                  <a:buClrTx/>
                  <a:buSzTx/>
                  <a:buFontTx/>
                  <a:buNone/>
                  <a:tabLst/>
                  <a:defRPr/>
                </a:pPr>
                <a:endParaRPr kumimoji="0" lang="en-US" sz="1698" b="0" i="0" u="none" strike="noStrike" kern="0" cap="none" spc="0" normalizeH="0" baseline="0" noProof="0">
                  <a:ln>
                    <a:noFill/>
                  </a:ln>
                  <a:solidFill>
                    <a:srgbClr val="000000"/>
                  </a:solidFill>
                  <a:effectLst/>
                  <a:uLnTx/>
                  <a:uFillTx/>
                  <a:latin typeface="Segoe UI"/>
                  <a:ea typeface="+mn-ea"/>
                  <a:cs typeface="+mn-cs"/>
                </a:endParaRPr>
              </a:p>
            </p:txBody>
          </p:sp>
          <p:sp>
            <p:nvSpPr>
              <p:cNvPr id="5" name="Trapezoid 4"/>
              <p:cNvSpPr/>
              <p:nvPr/>
            </p:nvSpPr>
            <p:spPr bwMode="auto">
              <a:xfrm>
                <a:off x="-2450516" y="1450690"/>
                <a:ext cx="343992" cy="273308"/>
              </a:xfrm>
              <a:prstGeom prst="trapezoid">
                <a:avLst>
                  <a:gd name="adj" fmla="val 44481"/>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12" tIns="146168" rIns="182712" bIns="146168" numCol="1" spcCol="0" rtlCol="0" fromWordArt="0" anchor="t" anchorCtr="0" forceAA="0" compatLnSpc="1">
                <a:prstTxWarp prst="textNoShape">
                  <a:avLst/>
                </a:prstTxWarp>
                <a:noAutofit/>
              </a:bodyPr>
              <a:lstStyle/>
              <a:p>
                <a:pPr marL="0" marR="0" lvl="0" indent="0" algn="ctr" defTabSz="931544" rtl="0" eaLnBrk="1" fontAlgn="base" latinLnBrk="0" hangingPunct="1">
                  <a:lnSpc>
                    <a:spcPct val="90000"/>
                  </a:lnSpc>
                  <a:spcBef>
                    <a:spcPct val="0"/>
                  </a:spcBef>
                  <a:spcAft>
                    <a:spcPct val="0"/>
                  </a:spcAft>
                  <a:buClrTx/>
                  <a:buSzTx/>
                  <a:buFontTx/>
                  <a:buNone/>
                  <a:tabLst/>
                  <a:defRPr/>
                </a:pPr>
                <a:endParaRPr kumimoji="0" lang="en-US" sz="239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174962170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6ABC3-ECBE-4AB6-9040-4051D66F609E}"/>
              </a:ext>
            </a:extLst>
          </p:cNvPr>
          <p:cNvSpPr>
            <a:spLocks noGrp="1"/>
          </p:cNvSpPr>
          <p:nvPr>
            <p:ph type="title"/>
          </p:nvPr>
        </p:nvSpPr>
        <p:spPr/>
        <p:txBody>
          <a:bodyPr/>
          <a:lstStyle/>
          <a:p>
            <a:r>
              <a:rPr lang="en-US" dirty="0"/>
              <a:t>XBOX Live Vitals</a:t>
            </a:r>
          </a:p>
        </p:txBody>
      </p:sp>
      <p:sp>
        <p:nvSpPr>
          <p:cNvPr id="3" name="Text Placeholder 2">
            <a:extLst>
              <a:ext uri="{FF2B5EF4-FFF2-40B4-BE49-F238E27FC236}">
                <a16:creationId xmlns:a16="http://schemas.microsoft.com/office/drawing/2014/main" id="{2E8763BF-441C-4C1A-996B-14F7DC79D1EB}"/>
              </a:ext>
            </a:extLst>
          </p:cNvPr>
          <p:cNvSpPr>
            <a:spLocks noGrp="1"/>
          </p:cNvSpPr>
          <p:nvPr>
            <p:ph type="body" sz="quarter" idx="10"/>
          </p:nvPr>
        </p:nvSpPr>
        <p:spPr>
          <a:xfrm>
            <a:off x="274638" y="1212850"/>
            <a:ext cx="6553199" cy="5650778"/>
          </a:xfrm>
        </p:spPr>
        <p:txBody>
          <a:bodyPr/>
          <a:lstStyle/>
          <a:p>
            <a:r>
              <a:rPr lang="en-US" dirty="0"/>
              <a:t>Twitter data sent to @</a:t>
            </a:r>
            <a:r>
              <a:rPr lang="en-US" dirty="0" err="1"/>
              <a:t>XboxSupport</a:t>
            </a:r>
            <a:endParaRPr lang="en-US" dirty="0"/>
          </a:p>
          <a:p>
            <a:endParaRPr lang="en-US" dirty="0"/>
          </a:p>
          <a:p>
            <a:r>
              <a:rPr lang="en-US" dirty="0"/>
              <a:t>Text Analytics API</a:t>
            </a:r>
          </a:p>
          <a:p>
            <a:pPr lvl="1"/>
            <a:r>
              <a:rPr lang="en-US" dirty="0"/>
              <a:t>Language detection</a:t>
            </a:r>
          </a:p>
          <a:p>
            <a:pPr lvl="1"/>
            <a:r>
              <a:rPr lang="en-US" dirty="0"/>
              <a:t>Key phrase extraction</a:t>
            </a:r>
          </a:p>
          <a:p>
            <a:pPr lvl="1"/>
            <a:r>
              <a:rPr lang="en-US" dirty="0"/>
              <a:t>Sentiment analysis</a:t>
            </a:r>
          </a:p>
          <a:p>
            <a:r>
              <a:rPr lang="en-US" dirty="0"/>
              <a:t>	</a:t>
            </a:r>
          </a:p>
          <a:p>
            <a:r>
              <a:rPr lang="en-US" dirty="0"/>
              <a:t>December 25, 2016: </a:t>
            </a:r>
          </a:p>
          <a:p>
            <a:pPr lvl="1"/>
            <a:r>
              <a:rPr lang="en-US" dirty="0"/>
              <a:t>Red “code” bubble</a:t>
            </a:r>
          </a:p>
        </p:txBody>
      </p:sp>
      <p:pic>
        <p:nvPicPr>
          <p:cNvPr id="5" name="Picture 4">
            <a:extLst>
              <a:ext uri="{FF2B5EF4-FFF2-40B4-BE49-F238E27FC236}">
                <a16:creationId xmlns:a16="http://schemas.microsoft.com/office/drawing/2014/main" id="{C21DCA87-3E2E-4F3C-BE87-A1D0D401229F}"/>
              </a:ext>
            </a:extLst>
          </p:cNvPr>
          <p:cNvPicPr>
            <a:picLocks noChangeAspect="1"/>
          </p:cNvPicPr>
          <p:nvPr/>
        </p:nvPicPr>
        <p:blipFill>
          <a:blip r:embed="rId3"/>
          <a:stretch>
            <a:fillRect/>
          </a:stretch>
        </p:blipFill>
        <p:spPr>
          <a:xfrm>
            <a:off x="7056437" y="173037"/>
            <a:ext cx="5210175" cy="6648450"/>
          </a:xfrm>
          <a:prstGeom prst="rect">
            <a:avLst/>
          </a:prstGeom>
        </p:spPr>
      </p:pic>
      <p:pic>
        <p:nvPicPr>
          <p:cNvPr id="7" name="Picture 6">
            <a:extLst>
              <a:ext uri="{FF2B5EF4-FFF2-40B4-BE49-F238E27FC236}">
                <a16:creationId xmlns:a16="http://schemas.microsoft.com/office/drawing/2014/main" id="{4A4BF9A2-E597-4A80-A6D6-13C11DD6C4C8}"/>
              </a:ext>
            </a:extLst>
          </p:cNvPr>
          <p:cNvPicPr>
            <a:picLocks noChangeAspect="1"/>
          </p:cNvPicPr>
          <p:nvPr/>
        </p:nvPicPr>
        <p:blipFill>
          <a:blip r:embed="rId4"/>
          <a:stretch>
            <a:fillRect/>
          </a:stretch>
        </p:blipFill>
        <p:spPr>
          <a:xfrm>
            <a:off x="6980237" y="296862"/>
            <a:ext cx="5343525" cy="6400800"/>
          </a:xfrm>
          <a:prstGeom prst="rect">
            <a:avLst/>
          </a:prstGeom>
        </p:spPr>
      </p:pic>
    </p:spTree>
    <p:extLst>
      <p:ext uri="{BB962C8B-B14F-4D97-AF65-F5344CB8AC3E}">
        <p14:creationId xmlns:p14="http://schemas.microsoft.com/office/powerpoint/2010/main" val="2341020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5"/>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a:xfrm>
            <a:off x="274638" y="4183062"/>
            <a:ext cx="8229599" cy="2511457"/>
          </a:xfrm>
        </p:spPr>
        <p:txBody>
          <a:bodyPr/>
          <a:lstStyle/>
          <a:p>
            <a:r>
              <a:rPr lang="en-US" dirty="0"/>
              <a:t>Text Analytics</a:t>
            </a:r>
            <a:endParaRPr lang="en-US" dirty="0">
              <a:hlinkClick r:id="rId3"/>
            </a:endParaRPr>
          </a:p>
          <a:p>
            <a:r>
              <a:rPr lang="en-US" dirty="0">
                <a:hlinkClick r:id="rId3"/>
              </a:rPr>
              <a:t>http://text-analytics-demo.azurewebsites.net</a:t>
            </a:r>
            <a:r>
              <a:rPr lang="en-US" dirty="0"/>
              <a:t> </a:t>
            </a:r>
          </a:p>
          <a:p>
            <a:endParaRPr lang="en-US" dirty="0"/>
          </a:p>
          <a:p>
            <a:r>
              <a:rPr lang="en-US" dirty="0"/>
              <a:t>Unconscious Bias app</a:t>
            </a:r>
          </a:p>
          <a:p>
            <a:r>
              <a:rPr lang="en-US" dirty="0">
                <a:hlinkClick r:id="rId4"/>
              </a:rPr>
              <a:t>http://aka.ms/bias</a:t>
            </a:r>
            <a:r>
              <a:rPr lang="en-US" dirty="0"/>
              <a:t> </a:t>
            </a:r>
          </a:p>
        </p:txBody>
      </p:sp>
    </p:spTree>
    <p:extLst>
      <p:ext uri="{BB962C8B-B14F-4D97-AF65-F5344CB8AC3E}">
        <p14:creationId xmlns:p14="http://schemas.microsoft.com/office/powerpoint/2010/main" val="2612200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Language Understanding (LUIS)</a:t>
            </a:r>
          </a:p>
        </p:txBody>
      </p:sp>
      <p:sp>
        <p:nvSpPr>
          <p:cNvPr id="6" name="Text Placeholder 5"/>
          <p:cNvSpPr>
            <a:spLocks noGrp="1"/>
          </p:cNvSpPr>
          <p:nvPr>
            <p:ph type="body" sz="quarter" idx="10"/>
          </p:nvPr>
        </p:nvSpPr>
        <p:spPr>
          <a:xfrm>
            <a:off x="274638" y="1212850"/>
            <a:ext cx="11887200" cy="4555093"/>
          </a:xfrm>
        </p:spPr>
        <p:txBody>
          <a:bodyPr/>
          <a:lstStyle/>
          <a:p>
            <a:r>
              <a:rPr lang="en-US" dirty="0">
                <a:gradFill>
                  <a:gsLst>
                    <a:gs pos="1250">
                      <a:schemeClr val="accent2"/>
                    </a:gs>
                    <a:gs pos="100000">
                      <a:schemeClr val="accent2"/>
                    </a:gs>
                  </a:gsLst>
                  <a:lin ang="5400000" scaled="0"/>
                </a:gradFill>
              </a:rPr>
              <a:t>Define entities and intents</a:t>
            </a:r>
          </a:p>
          <a:p>
            <a:pPr lvl="1"/>
            <a:r>
              <a:rPr lang="en-US" dirty="0"/>
              <a:t>Entities – </a:t>
            </a:r>
            <a:r>
              <a:rPr lang="en-US" dirty="0" err="1"/>
              <a:t>DepartureCity</a:t>
            </a:r>
            <a:r>
              <a:rPr lang="en-US" dirty="0"/>
              <a:t>, </a:t>
            </a:r>
            <a:r>
              <a:rPr lang="en-US" dirty="0" err="1"/>
              <a:t>ArrivalCity</a:t>
            </a:r>
            <a:r>
              <a:rPr lang="en-US" dirty="0"/>
              <a:t>, </a:t>
            </a:r>
            <a:r>
              <a:rPr lang="en-US" dirty="0" err="1"/>
              <a:t>DepartureDate</a:t>
            </a:r>
            <a:r>
              <a:rPr lang="en-US" dirty="0"/>
              <a:t>, </a:t>
            </a:r>
            <a:r>
              <a:rPr lang="en-US" dirty="0" err="1"/>
              <a:t>ReturnDate</a:t>
            </a:r>
            <a:endParaRPr lang="en-US" dirty="0"/>
          </a:p>
          <a:p>
            <a:pPr lvl="1"/>
            <a:r>
              <a:rPr lang="en-US" dirty="0"/>
              <a:t>Intents – book a flight, check in for a flight, cancel a flight</a:t>
            </a:r>
          </a:p>
          <a:p>
            <a:r>
              <a:rPr lang="en-US" dirty="0">
                <a:gradFill>
                  <a:gsLst>
                    <a:gs pos="1250">
                      <a:schemeClr val="accent2"/>
                    </a:gs>
                    <a:gs pos="100000">
                      <a:schemeClr val="accent2"/>
                    </a:gs>
                  </a:gsLst>
                  <a:lin ang="5400000" scaled="0"/>
                </a:gradFill>
              </a:rPr>
              <a:t>Map some utterances to an intent</a:t>
            </a:r>
          </a:p>
          <a:p>
            <a:pPr lvl="1"/>
            <a:r>
              <a:rPr lang="en-US" dirty="0"/>
              <a:t>Examples: “I want to go to Paris from Sept 25 to Sept 29, 2016”, “Book me a flight from DTW to CDG leaving on 9/25/2016 and returning 9/28/2016”, etc.  </a:t>
            </a:r>
          </a:p>
          <a:p>
            <a:r>
              <a:rPr lang="en-US" dirty="0">
                <a:gradFill>
                  <a:gsLst>
                    <a:gs pos="1250">
                      <a:schemeClr val="accent2"/>
                    </a:gs>
                    <a:gs pos="100000">
                      <a:schemeClr val="accent2"/>
                    </a:gs>
                  </a:gsLst>
                  <a:lin ang="5400000" scaled="0"/>
                </a:gradFill>
              </a:rPr>
              <a:t>Help your model improve over time based on real feedback</a:t>
            </a:r>
          </a:p>
          <a:p>
            <a:pPr lvl="1"/>
            <a:r>
              <a:rPr lang="en-US" dirty="0"/>
              <a:t>See what real users are sending to your model, and map those utterances to intents (or create new intents based on what your users are asking).  </a:t>
            </a:r>
          </a:p>
        </p:txBody>
      </p:sp>
    </p:spTree>
    <p:extLst>
      <p:ext uri="{BB962C8B-B14F-4D97-AF65-F5344CB8AC3E}">
        <p14:creationId xmlns:p14="http://schemas.microsoft.com/office/powerpoint/2010/main" val="3695894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a:xfrm>
            <a:off x="274638" y="4411662"/>
            <a:ext cx="7924799" cy="2511457"/>
          </a:xfrm>
        </p:spPr>
        <p:txBody>
          <a:bodyPr/>
          <a:lstStyle/>
          <a:p>
            <a:r>
              <a:rPr lang="en-US" dirty="0"/>
              <a:t>Microsoft Career Bot</a:t>
            </a:r>
          </a:p>
          <a:p>
            <a:endParaRPr lang="en-US" dirty="0"/>
          </a:p>
          <a:p>
            <a:r>
              <a:rPr lang="en-US" dirty="0">
                <a:hlinkClick r:id="rId3"/>
              </a:rPr>
              <a:t>http://microsoftcareerbot.azurewebsites.net</a:t>
            </a:r>
            <a:r>
              <a:rPr lang="en-US" dirty="0"/>
              <a:t> </a:t>
            </a:r>
          </a:p>
          <a:p>
            <a:r>
              <a:rPr lang="en-US" dirty="0">
                <a:hlinkClick r:id="rId4"/>
              </a:rPr>
              <a:t>http://luis.ai</a:t>
            </a:r>
            <a:r>
              <a:rPr lang="en-US" dirty="0"/>
              <a:t> </a:t>
            </a:r>
          </a:p>
          <a:p>
            <a:endParaRPr lang="en-US" dirty="0"/>
          </a:p>
        </p:txBody>
      </p:sp>
    </p:spTree>
    <p:extLst>
      <p:ext uri="{BB962C8B-B14F-4D97-AF65-F5344CB8AC3E}">
        <p14:creationId xmlns:p14="http://schemas.microsoft.com/office/powerpoint/2010/main" val="1670528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nowledge</a:t>
            </a:r>
          </a:p>
        </p:txBody>
      </p:sp>
    </p:spTree>
    <p:extLst>
      <p:ext uri="{BB962C8B-B14F-4D97-AF65-F5344CB8AC3E}">
        <p14:creationId xmlns:p14="http://schemas.microsoft.com/office/powerpoint/2010/main" val="211352632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Rectangle 135"/>
          <p:cNvSpPr/>
          <p:nvPr/>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60" name="Group 59"/>
          <p:cNvGrpSpPr/>
          <p:nvPr/>
        </p:nvGrpSpPr>
        <p:grpSpPr>
          <a:xfrm>
            <a:off x="857585" y="369933"/>
            <a:ext cx="3293313" cy="769441"/>
            <a:chOff x="857585" y="369933"/>
            <a:chExt cx="3293313" cy="769441"/>
          </a:xfrm>
        </p:grpSpPr>
        <p:sp>
          <p:nvSpPr>
            <p:cNvPr id="63" name="Freeform 9"/>
            <p:cNvSpPr>
              <a:spLocks noChangeAspect="1"/>
            </p:cNvSpPr>
            <p:nvPr/>
          </p:nvSpPr>
          <p:spPr bwMode="auto">
            <a:xfrm>
              <a:off x="857585" y="475389"/>
              <a:ext cx="483854" cy="608436"/>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68" name="Rectangle 67"/>
            <p:cNvSpPr/>
            <p:nvPr/>
          </p:nvSpPr>
          <p:spPr>
            <a:xfrm>
              <a:off x="1352882" y="369933"/>
              <a:ext cx="2798016" cy="769441"/>
            </a:xfrm>
            <a:prstGeom prst="rect">
              <a:avLst/>
            </a:prstGeom>
            <a:noFill/>
          </p:spPr>
          <p:txBody>
            <a:bodyPr wrap="square" anchor="ctr">
              <a:spAutoFit/>
            </a:bodyPr>
            <a:lstStyle/>
            <a:p>
              <a:pPr marL="182845" marR="0" lvl="0" indent="0" algn="l" defTabSz="931741" rtl="0" eaLnBrk="1" fontAlgn="base" latinLnBrk="0" hangingPunct="1">
                <a:lnSpc>
                  <a:spcPct val="100000"/>
                </a:lnSpc>
                <a:spcBef>
                  <a:spcPts val="1199"/>
                </a:spcBef>
                <a:spcAft>
                  <a:spcPts val="1199"/>
                </a:spcAft>
                <a:buClrTx/>
                <a:buSzTx/>
                <a:buFontTx/>
                <a:buNone/>
                <a:tabLst/>
                <a:defRPr/>
              </a:pPr>
              <a:r>
                <a:rPr kumimoji="0" lang="en-US" sz="44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rPr>
                <a:t>Language</a:t>
              </a:r>
            </a:p>
          </p:txBody>
        </p:sp>
      </p:grpSp>
      <p:grpSp>
        <p:nvGrpSpPr>
          <p:cNvPr id="6" name="Group 5"/>
          <p:cNvGrpSpPr/>
          <p:nvPr/>
        </p:nvGrpSpPr>
        <p:grpSpPr>
          <a:xfrm>
            <a:off x="370416" y="281995"/>
            <a:ext cx="4095221" cy="857929"/>
            <a:chOff x="370416" y="281995"/>
            <a:chExt cx="4095221" cy="857929"/>
          </a:xfrm>
        </p:grpSpPr>
        <p:grpSp>
          <p:nvGrpSpPr>
            <p:cNvPr id="5" name="Group 4"/>
            <p:cNvGrpSpPr/>
            <p:nvPr/>
          </p:nvGrpSpPr>
          <p:grpSpPr>
            <a:xfrm>
              <a:off x="370416" y="281995"/>
              <a:ext cx="4095221" cy="857929"/>
              <a:chOff x="370416" y="281305"/>
              <a:chExt cx="4095221" cy="857929"/>
            </a:xfrm>
          </p:grpSpPr>
          <p:sp>
            <p:nvSpPr>
              <p:cNvPr id="62" name="Rectangle 61"/>
              <p:cNvSpPr/>
              <p:nvPr/>
            </p:nvSpPr>
            <p:spPr>
              <a:xfrm>
                <a:off x="1356203" y="369793"/>
                <a:ext cx="3109434" cy="769441"/>
              </a:xfrm>
              <a:prstGeom prst="rect">
                <a:avLst/>
              </a:prstGeom>
              <a:solidFill>
                <a:schemeClr val="accent1"/>
              </a:solidFill>
            </p:spPr>
            <p:txBody>
              <a:bodyPr wrap="square" anchor="ctr">
                <a:spAutoFit/>
              </a:bodyPr>
              <a:lstStyle/>
              <a:p>
                <a:pPr marL="182845" marR="0" lvl="0" indent="0" algn="l" defTabSz="931741" rtl="0" eaLnBrk="1" fontAlgn="base" latinLnBrk="0" hangingPunct="1">
                  <a:lnSpc>
                    <a:spcPct val="100000"/>
                  </a:lnSpc>
                  <a:spcBef>
                    <a:spcPts val="1199"/>
                  </a:spcBef>
                  <a:spcAft>
                    <a:spcPts val="1199"/>
                  </a:spcAft>
                  <a:buClrTx/>
                  <a:buSzTx/>
                  <a:buFontTx/>
                  <a:buNone/>
                  <a:tabLst/>
                  <a:defRPr/>
                </a:pPr>
                <a:r>
                  <a:rPr kumimoji="0" lang="en-US" sz="44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rPr>
                  <a:t>Knowledge</a:t>
                </a:r>
              </a:p>
            </p:txBody>
          </p:sp>
          <p:sp>
            <p:nvSpPr>
              <p:cNvPr id="67" name="Rectangle 66"/>
              <p:cNvSpPr/>
              <p:nvPr/>
            </p:nvSpPr>
            <p:spPr>
              <a:xfrm>
                <a:off x="370416" y="281305"/>
                <a:ext cx="1066799" cy="6244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71" name="Freeform 5"/>
            <p:cNvSpPr>
              <a:spLocks/>
            </p:cNvSpPr>
            <p:nvPr/>
          </p:nvSpPr>
          <p:spPr bwMode="auto">
            <a:xfrm>
              <a:off x="680827" y="458609"/>
              <a:ext cx="660611" cy="660611"/>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9" name="Group 18"/>
          <p:cNvGrpSpPr/>
          <p:nvPr/>
        </p:nvGrpSpPr>
        <p:grpSpPr>
          <a:xfrm>
            <a:off x="6811543" y="2704730"/>
            <a:ext cx="1600200" cy="1600200"/>
            <a:chOff x="6746821" y="2704730"/>
            <a:chExt cx="1600200" cy="1600200"/>
          </a:xfrm>
        </p:grpSpPr>
        <p:sp>
          <p:nvSpPr>
            <p:cNvPr id="39" name="Rectangle 38"/>
            <p:cNvSpPr/>
            <p:nvPr/>
          </p:nvSpPr>
          <p:spPr>
            <a:xfrm>
              <a:off x="6746821"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8" name="Group 17"/>
            <p:cNvGrpSpPr/>
            <p:nvPr/>
          </p:nvGrpSpPr>
          <p:grpSpPr>
            <a:xfrm>
              <a:off x="6953196" y="2913486"/>
              <a:ext cx="1187450" cy="1182688"/>
              <a:chOff x="6953196" y="2913486"/>
              <a:chExt cx="1187450" cy="1182688"/>
            </a:xfrm>
          </p:grpSpPr>
          <p:grpSp>
            <p:nvGrpSpPr>
              <p:cNvPr id="119" name="Group 4"/>
              <p:cNvGrpSpPr>
                <a:grpSpLocks noChangeAspect="1"/>
              </p:cNvGrpSpPr>
              <p:nvPr/>
            </p:nvGrpSpPr>
            <p:grpSpPr bwMode="auto">
              <a:xfrm>
                <a:off x="6953196" y="2913486"/>
                <a:ext cx="1187450" cy="1182688"/>
                <a:chOff x="864" y="1833"/>
                <a:chExt cx="748" cy="745"/>
              </a:xfrm>
            </p:grpSpPr>
            <p:sp>
              <p:nvSpPr>
                <p:cNvPr id="120" name="Freeform 5"/>
                <p:cNvSpPr>
                  <a:spLocks noEditPoints="1"/>
                </p:cNvSpPr>
                <p:nvPr/>
              </p:nvSpPr>
              <p:spPr bwMode="auto">
                <a:xfrm>
                  <a:off x="864" y="1833"/>
                  <a:ext cx="748" cy="745"/>
                </a:xfrm>
                <a:custGeom>
                  <a:avLst/>
                  <a:gdLst>
                    <a:gd name="T0" fmla="*/ 300 w 303"/>
                    <a:gd name="T1" fmla="*/ 151 h 302"/>
                    <a:gd name="T2" fmla="*/ 301 w 303"/>
                    <a:gd name="T3" fmla="*/ 134 h 302"/>
                    <a:gd name="T4" fmla="*/ 290 w 303"/>
                    <a:gd name="T5" fmla="*/ 121 h 302"/>
                    <a:gd name="T6" fmla="*/ 280 w 303"/>
                    <a:gd name="T7" fmla="*/ 122 h 302"/>
                    <a:gd name="T8" fmla="*/ 263 w 303"/>
                    <a:gd name="T9" fmla="*/ 82 h 302"/>
                    <a:gd name="T10" fmla="*/ 272 w 303"/>
                    <a:gd name="T11" fmla="*/ 75 h 302"/>
                    <a:gd name="T12" fmla="*/ 272 w 303"/>
                    <a:gd name="T13" fmla="*/ 62 h 302"/>
                    <a:gd name="T14" fmla="*/ 243 w 303"/>
                    <a:gd name="T15" fmla="*/ 33 h 302"/>
                    <a:gd name="T16" fmla="*/ 225 w 303"/>
                    <a:gd name="T17" fmla="*/ 34 h 302"/>
                    <a:gd name="T18" fmla="*/ 220 w 303"/>
                    <a:gd name="T19" fmla="*/ 40 h 302"/>
                    <a:gd name="T20" fmla="*/ 181 w 303"/>
                    <a:gd name="T21" fmla="*/ 24 h 302"/>
                    <a:gd name="T22" fmla="*/ 181 w 303"/>
                    <a:gd name="T23" fmla="*/ 14 h 302"/>
                    <a:gd name="T24" fmla="*/ 171 w 303"/>
                    <a:gd name="T25" fmla="*/ 1 h 302"/>
                    <a:gd name="T26" fmla="*/ 132 w 303"/>
                    <a:gd name="T27" fmla="*/ 1 h 302"/>
                    <a:gd name="T28" fmla="*/ 120 w 303"/>
                    <a:gd name="T29" fmla="*/ 14 h 302"/>
                    <a:gd name="T30" fmla="*/ 121 w 303"/>
                    <a:gd name="T31" fmla="*/ 23 h 302"/>
                    <a:gd name="T32" fmla="*/ 81 w 303"/>
                    <a:gd name="T33" fmla="*/ 40 h 302"/>
                    <a:gd name="T34" fmla="*/ 74 w 303"/>
                    <a:gd name="T35" fmla="*/ 31 h 302"/>
                    <a:gd name="T36" fmla="*/ 61 w 303"/>
                    <a:gd name="T37" fmla="*/ 31 h 302"/>
                    <a:gd name="T38" fmla="*/ 32 w 303"/>
                    <a:gd name="T39" fmla="*/ 59 h 302"/>
                    <a:gd name="T40" fmla="*/ 33 w 303"/>
                    <a:gd name="T41" fmla="*/ 77 h 302"/>
                    <a:gd name="T42" fmla="*/ 39 w 303"/>
                    <a:gd name="T43" fmla="*/ 82 h 302"/>
                    <a:gd name="T44" fmla="*/ 23 w 303"/>
                    <a:gd name="T45" fmla="*/ 122 h 302"/>
                    <a:gd name="T46" fmla="*/ 11 w 303"/>
                    <a:gd name="T47" fmla="*/ 121 h 302"/>
                    <a:gd name="T48" fmla="*/ 9 w 303"/>
                    <a:gd name="T49" fmla="*/ 121 h 302"/>
                    <a:gd name="T50" fmla="*/ 1 w 303"/>
                    <a:gd name="T51" fmla="*/ 131 h 302"/>
                    <a:gd name="T52" fmla="*/ 1 w 303"/>
                    <a:gd name="T53" fmla="*/ 169 h 302"/>
                    <a:gd name="T54" fmla="*/ 12 w 303"/>
                    <a:gd name="T55" fmla="*/ 181 h 302"/>
                    <a:gd name="T56" fmla="*/ 22 w 303"/>
                    <a:gd name="T57" fmla="*/ 181 h 302"/>
                    <a:gd name="T58" fmla="*/ 38 w 303"/>
                    <a:gd name="T59" fmla="*/ 220 h 302"/>
                    <a:gd name="T60" fmla="*/ 38 w 303"/>
                    <a:gd name="T61" fmla="*/ 220 h 302"/>
                    <a:gd name="T62" fmla="*/ 30 w 303"/>
                    <a:gd name="T63" fmla="*/ 227 h 302"/>
                    <a:gd name="T64" fmla="*/ 29 w 303"/>
                    <a:gd name="T65" fmla="*/ 240 h 302"/>
                    <a:gd name="T66" fmla="*/ 61 w 303"/>
                    <a:gd name="T67" fmla="*/ 271 h 302"/>
                    <a:gd name="T68" fmla="*/ 74 w 303"/>
                    <a:gd name="T69" fmla="*/ 271 h 302"/>
                    <a:gd name="T70" fmla="*/ 81 w 303"/>
                    <a:gd name="T71" fmla="*/ 264 h 302"/>
                    <a:gd name="T72" fmla="*/ 122 w 303"/>
                    <a:gd name="T73" fmla="*/ 281 h 302"/>
                    <a:gd name="T74" fmla="*/ 121 w 303"/>
                    <a:gd name="T75" fmla="*/ 291 h 302"/>
                    <a:gd name="T76" fmla="*/ 130 w 303"/>
                    <a:gd name="T77" fmla="*/ 301 h 302"/>
                    <a:gd name="T78" fmla="*/ 168 w 303"/>
                    <a:gd name="T79" fmla="*/ 301 h 302"/>
                    <a:gd name="T80" fmla="*/ 180 w 303"/>
                    <a:gd name="T81" fmla="*/ 286 h 302"/>
                    <a:gd name="T82" fmla="*/ 180 w 303"/>
                    <a:gd name="T83" fmla="*/ 281 h 302"/>
                    <a:gd name="T84" fmla="*/ 221 w 303"/>
                    <a:gd name="T85" fmla="*/ 264 h 302"/>
                    <a:gd name="T86" fmla="*/ 227 w 303"/>
                    <a:gd name="T87" fmla="*/ 271 h 302"/>
                    <a:gd name="T88" fmla="*/ 241 w 303"/>
                    <a:gd name="T89" fmla="*/ 271 h 302"/>
                    <a:gd name="T90" fmla="*/ 271 w 303"/>
                    <a:gd name="T91" fmla="*/ 242 h 302"/>
                    <a:gd name="T92" fmla="*/ 271 w 303"/>
                    <a:gd name="T93" fmla="*/ 228 h 302"/>
                    <a:gd name="T94" fmla="*/ 263 w 303"/>
                    <a:gd name="T95" fmla="*/ 222 h 302"/>
                    <a:gd name="T96" fmla="*/ 280 w 303"/>
                    <a:gd name="T97" fmla="*/ 181 h 302"/>
                    <a:gd name="T98" fmla="*/ 299 w 303"/>
                    <a:gd name="T99" fmla="*/ 179 h 302"/>
                    <a:gd name="T100" fmla="*/ 300 w 303"/>
                    <a:gd name="T101" fmla="*/ 151 h 302"/>
                    <a:gd name="T102" fmla="*/ 151 w 303"/>
                    <a:gd name="T103" fmla="*/ 230 h 302"/>
                    <a:gd name="T104" fmla="*/ 72 w 303"/>
                    <a:gd name="T105" fmla="*/ 151 h 302"/>
                    <a:gd name="T106" fmla="*/ 151 w 303"/>
                    <a:gd name="T107" fmla="*/ 72 h 302"/>
                    <a:gd name="T108" fmla="*/ 230 w 303"/>
                    <a:gd name="T109" fmla="*/ 151 h 302"/>
                    <a:gd name="T110" fmla="*/ 151 w 303"/>
                    <a:gd name="T111" fmla="*/ 23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302">
                      <a:moveTo>
                        <a:pt x="300" y="151"/>
                      </a:moveTo>
                      <a:cubicBezTo>
                        <a:pt x="301" y="146"/>
                        <a:pt x="300" y="140"/>
                        <a:pt x="301" y="134"/>
                      </a:cubicBezTo>
                      <a:cubicBezTo>
                        <a:pt x="302" y="124"/>
                        <a:pt x="299" y="120"/>
                        <a:pt x="290" y="121"/>
                      </a:cubicBezTo>
                      <a:cubicBezTo>
                        <a:pt x="287" y="121"/>
                        <a:pt x="283" y="122"/>
                        <a:pt x="280" y="122"/>
                      </a:cubicBezTo>
                      <a:cubicBezTo>
                        <a:pt x="276" y="108"/>
                        <a:pt x="270" y="94"/>
                        <a:pt x="263" y="82"/>
                      </a:cubicBezTo>
                      <a:cubicBezTo>
                        <a:pt x="265" y="79"/>
                        <a:pt x="269" y="77"/>
                        <a:pt x="272" y="75"/>
                      </a:cubicBezTo>
                      <a:cubicBezTo>
                        <a:pt x="277" y="70"/>
                        <a:pt x="278" y="67"/>
                        <a:pt x="272" y="62"/>
                      </a:cubicBezTo>
                      <a:cubicBezTo>
                        <a:pt x="262" y="53"/>
                        <a:pt x="252" y="44"/>
                        <a:pt x="243" y="33"/>
                      </a:cubicBezTo>
                      <a:cubicBezTo>
                        <a:pt x="237" y="26"/>
                        <a:pt x="231" y="25"/>
                        <a:pt x="225" y="34"/>
                      </a:cubicBezTo>
                      <a:cubicBezTo>
                        <a:pt x="224" y="36"/>
                        <a:pt x="222" y="38"/>
                        <a:pt x="220" y="40"/>
                      </a:cubicBezTo>
                      <a:cubicBezTo>
                        <a:pt x="208" y="32"/>
                        <a:pt x="195" y="27"/>
                        <a:pt x="181" y="24"/>
                      </a:cubicBezTo>
                      <a:cubicBezTo>
                        <a:pt x="181" y="21"/>
                        <a:pt x="180" y="18"/>
                        <a:pt x="181" y="14"/>
                      </a:cubicBezTo>
                      <a:cubicBezTo>
                        <a:pt x="183" y="4"/>
                        <a:pt x="179" y="0"/>
                        <a:pt x="171" y="1"/>
                      </a:cubicBezTo>
                      <a:cubicBezTo>
                        <a:pt x="158" y="2"/>
                        <a:pt x="145" y="2"/>
                        <a:pt x="132" y="1"/>
                      </a:cubicBezTo>
                      <a:cubicBezTo>
                        <a:pt x="123" y="1"/>
                        <a:pt x="120" y="4"/>
                        <a:pt x="120" y="14"/>
                      </a:cubicBezTo>
                      <a:cubicBezTo>
                        <a:pt x="121" y="17"/>
                        <a:pt x="121" y="20"/>
                        <a:pt x="121" y="23"/>
                      </a:cubicBezTo>
                      <a:cubicBezTo>
                        <a:pt x="107" y="27"/>
                        <a:pt x="93" y="32"/>
                        <a:pt x="81" y="40"/>
                      </a:cubicBezTo>
                      <a:cubicBezTo>
                        <a:pt x="79" y="37"/>
                        <a:pt x="77" y="34"/>
                        <a:pt x="74" y="31"/>
                      </a:cubicBezTo>
                      <a:cubicBezTo>
                        <a:pt x="69" y="25"/>
                        <a:pt x="66" y="26"/>
                        <a:pt x="61" y="31"/>
                      </a:cubicBezTo>
                      <a:cubicBezTo>
                        <a:pt x="52" y="41"/>
                        <a:pt x="42" y="51"/>
                        <a:pt x="32" y="59"/>
                      </a:cubicBezTo>
                      <a:cubicBezTo>
                        <a:pt x="23" y="67"/>
                        <a:pt x="25" y="71"/>
                        <a:pt x="33" y="77"/>
                      </a:cubicBezTo>
                      <a:cubicBezTo>
                        <a:pt x="34" y="79"/>
                        <a:pt x="37" y="80"/>
                        <a:pt x="39" y="82"/>
                      </a:cubicBezTo>
                      <a:cubicBezTo>
                        <a:pt x="32" y="94"/>
                        <a:pt x="26" y="107"/>
                        <a:pt x="23" y="122"/>
                      </a:cubicBezTo>
                      <a:cubicBezTo>
                        <a:pt x="19" y="122"/>
                        <a:pt x="14" y="120"/>
                        <a:pt x="11" y="121"/>
                      </a:cubicBezTo>
                      <a:cubicBezTo>
                        <a:pt x="10" y="121"/>
                        <a:pt x="10" y="121"/>
                        <a:pt x="9" y="121"/>
                      </a:cubicBezTo>
                      <a:cubicBezTo>
                        <a:pt x="2" y="120"/>
                        <a:pt x="1" y="124"/>
                        <a:pt x="1" y="131"/>
                      </a:cubicBezTo>
                      <a:cubicBezTo>
                        <a:pt x="2" y="144"/>
                        <a:pt x="2" y="157"/>
                        <a:pt x="1" y="169"/>
                      </a:cubicBezTo>
                      <a:cubicBezTo>
                        <a:pt x="0" y="179"/>
                        <a:pt x="4" y="183"/>
                        <a:pt x="12" y="181"/>
                      </a:cubicBezTo>
                      <a:cubicBezTo>
                        <a:pt x="16" y="180"/>
                        <a:pt x="19" y="180"/>
                        <a:pt x="22" y="181"/>
                      </a:cubicBezTo>
                      <a:cubicBezTo>
                        <a:pt x="25" y="195"/>
                        <a:pt x="31" y="208"/>
                        <a:pt x="38" y="220"/>
                      </a:cubicBezTo>
                      <a:cubicBezTo>
                        <a:pt x="38" y="220"/>
                        <a:pt x="38" y="220"/>
                        <a:pt x="38" y="220"/>
                      </a:cubicBezTo>
                      <a:cubicBezTo>
                        <a:pt x="35" y="222"/>
                        <a:pt x="33" y="225"/>
                        <a:pt x="30" y="227"/>
                      </a:cubicBezTo>
                      <a:cubicBezTo>
                        <a:pt x="24" y="231"/>
                        <a:pt x="23" y="234"/>
                        <a:pt x="29" y="240"/>
                      </a:cubicBezTo>
                      <a:cubicBezTo>
                        <a:pt x="40" y="250"/>
                        <a:pt x="50" y="261"/>
                        <a:pt x="61" y="271"/>
                      </a:cubicBezTo>
                      <a:cubicBezTo>
                        <a:pt x="66" y="277"/>
                        <a:pt x="69" y="277"/>
                        <a:pt x="74" y="271"/>
                      </a:cubicBezTo>
                      <a:cubicBezTo>
                        <a:pt x="76" y="269"/>
                        <a:pt x="78" y="266"/>
                        <a:pt x="81" y="264"/>
                      </a:cubicBezTo>
                      <a:cubicBezTo>
                        <a:pt x="93" y="272"/>
                        <a:pt x="107" y="277"/>
                        <a:pt x="122" y="281"/>
                      </a:cubicBezTo>
                      <a:cubicBezTo>
                        <a:pt x="122" y="283"/>
                        <a:pt x="121" y="286"/>
                        <a:pt x="121" y="291"/>
                      </a:cubicBezTo>
                      <a:cubicBezTo>
                        <a:pt x="119" y="299"/>
                        <a:pt x="124" y="301"/>
                        <a:pt x="130" y="301"/>
                      </a:cubicBezTo>
                      <a:cubicBezTo>
                        <a:pt x="143" y="300"/>
                        <a:pt x="155" y="300"/>
                        <a:pt x="168" y="301"/>
                      </a:cubicBezTo>
                      <a:cubicBezTo>
                        <a:pt x="178" y="302"/>
                        <a:pt x="182" y="298"/>
                        <a:pt x="180" y="286"/>
                      </a:cubicBezTo>
                      <a:cubicBezTo>
                        <a:pt x="180" y="284"/>
                        <a:pt x="180" y="282"/>
                        <a:pt x="180" y="281"/>
                      </a:cubicBezTo>
                      <a:cubicBezTo>
                        <a:pt x="195" y="278"/>
                        <a:pt x="209" y="272"/>
                        <a:pt x="221" y="264"/>
                      </a:cubicBezTo>
                      <a:cubicBezTo>
                        <a:pt x="223" y="265"/>
                        <a:pt x="225" y="268"/>
                        <a:pt x="227" y="271"/>
                      </a:cubicBezTo>
                      <a:cubicBezTo>
                        <a:pt x="231" y="277"/>
                        <a:pt x="235" y="278"/>
                        <a:pt x="241" y="271"/>
                      </a:cubicBezTo>
                      <a:cubicBezTo>
                        <a:pt x="250" y="261"/>
                        <a:pt x="261" y="251"/>
                        <a:pt x="271" y="242"/>
                      </a:cubicBezTo>
                      <a:cubicBezTo>
                        <a:pt x="276" y="237"/>
                        <a:pt x="278" y="232"/>
                        <a:pt x="271" y="228"/>
                      </a:cubicBezTo>
                      <a:cubicBezTo>
                        <a:pt x="267" y="226"/>
                        <a:pt x="265" y="224"/>
                        <a:pt x="263" y="222"/>
                      </a:cubicBezTo>
                      <a:cubicBezTo>
                        <a:pt x="271" y="209"/>
                        <a:pt x="277" y="196"/>
                        <a:pt x="280" y="181"/>
                      </a:cubicBezTo>
                      <a:cubicBezTo>
                        <a:pt x="287" y="181"/>
                        <a:pt x="296" y="185"/>
                        <a:pt x="299" y="179"/>
                      </a:cubicBezTo>
                      <a:cubicBezTo>
                        <a:pt x="303" y="172"/>
                        <a:pt x="300" y="161"/>
                        <a:pt x="300" y="151"/>
                      </a:cubicBezTo>
                      <a:close/>
                      <a:moveTo>
                        <a:pt x="151" y="230"/>
                      </a:moveTo>
                      <a:cubicBezTo>
                        <a:pt x="107" y="230"/>
                        <a:pt x="72" y="195"/>
                        <a:pt x="72" y="151"/>
                      </a:cubicBezTo>
                      <a:cubicBezTo>
                        <a:pt x="72" y="107"/>
                        <a:pt x="107" y="72"/>
                        <a:pt x="151" y="72"/>
                      </a:cubicBezTo>
                      <a:cubicBezTo>
                        <a:pt x="195" y="72"/>
                        <a:pt x="230" y="107"/>
                        <a:pt x="230" y="151"/>
                      </a:cubicBezTo>
                      <a:cubicBezTo>
                        <a:pt x="230" y="195"/>
                        <a:pt x="195" y="230"/>
                        <a:pt x="151" y="230"/>
                      </a:cubicBezTo>
                      <a:close/>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1" name="Oval 6"/>
                <p:cNvSpPr>
                  <a:spLocks noChangeArrowheads="1"/>
                </p:cNvSpPr>
                <p:nvPr/>
              </p:nvSpPr>
              <p:spPr bwMode="auto">
                <a:xfrm>
                  <a:off x="1042" y="2011"/>
                  <a:ext cx="389" cy="389"/>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7" name="Group 16"/>
              <p:cNvGrpSpPr/>
              <p:nvPr/>
            </p:nvGrpSpPr>
            <p:grpSpPr>
              <a:xfrm>
                <a:off x="7371067" y="3328976"/>
                <a:ext cx="351709" cy="351709"/>
                <a:chOff x="8353301" y="532550"/>
                <a:chExt cx="531936" cy="531936"/>
              </a:xfrm>
            </p:grpSpPr>
            <p:sp>
              <p:nvSpPr>
                <p:cNvPr id="16" name="Rounded Rectangle 15"/>
                <p:cNvSpPr/>
                <p:nvPr/>
              </p:nvSpPr>
              <p:spPr>
                <a:xfrm>
                  <a:off x="8353301" y="532550"/>
                  <a:ext cx="379536" cy="379536"/>
                </a:xfrm>
                <a:prstGeom prst="round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9" name="Rounded Rectangle 128"/>
                <p:cNvSpPr/>
                <p:nvPr/>
              </p:nvSpPr>
              <p:spPr>
                <a:xfrm>
                  <a:off x="8505701" y="684950"/>
                  <a:ext cx="379536" cy="379536"/>
                </a:xfrm>
                <a:prstGeom prst="round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grpSp>
        <p:nvGrpSpPr>
          <p:cNvPr id="15" name="Group 14"/>
          <p:cNvGrpSpPr/>
          <p:nvPr/>
        </p:nvGrpSpPr>
        <p:grpSpPr>
          <a:xfrm>
            <a:off x="4021752" y="2704730"/>
            <a:ext cx="1600200" cy="1600200"/>
            <a:chOff x="3957030" y="2704730"/>
            <a:chExt cx="1600200" cy="1600200"/>
          </a:xfrm>
        </p:grpSpPr>
        <p:sp>
          <p:nvSpPr>
            <p:cNvPr id="49" name="Rectangle 48"/>
            <p:cNvSpPr/>
            <p:nvPr/>
          </p:nvSpPr>
          <p:spPr>
            <a:xfrm>
              <a:off x="3957030"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4" name="Group 13"/>
            <p:cNvGrpSpPr/>
            <p:nvPr/>
          </p:nvGrpSpPr>
          <p:grpSpPr>
            <a:xfrm>
              <a:off x="4163405" y="2913486"/>
              <a:ext cx="1187450" cy="1182688"/>
              <a:chOff x="4163405" y="2913486"/>
              <a:chExt cx="1187450" cy="1182688"/>
            </a:xfrm>
          </p:grpSpPr>
          <p:grpSp>
            <p:nvGrpSpPr>
              <p:cNvPr id="116" name="Group 4"/>
              <p:cNvGrpSpPr>
                <a:grpSpLocks noChangeAspect="1"/>
              </p:cNvGrpSpPr>
              <p:nvPr/>
            </p:nvGrpSpPr>
            <p:grpSpPr bwMode="auto">
              <a:xfrm>
                <a:off x="4163405" y="2913486"/>
                <a:ext cx="1187450" cy="1182688"/>
                <a:chOff x="864" y="1833"/>
                <a:chExt cx="748" cy="745"/>
              </a:xfrm>
            </p:grpSpPr>
            <p:sp>
              <p:nvSpPr>
                <p:cNvPr id="117" name="Freeform 5"/>
                <p:cNvSpPr>
                  <a:spLocks noEditPoints="1"/>
                </p:cNvSpPr>
                <p:nvPr/>
              </p:nvSpPr>
              <p:spPr bwMode="auto">
                <a:xfrm>
                  <a:off x="864" y="1833"/>
                  <a:ext cx="748" cy="745"/>
                </a:xfrm>
                <a:custGeom>
                  <a:avLst/>
                  <a:gdLst>
                    <a:gd name="T0" fmla="*/ 300 w 303"/>
                    <a:gd name="T1" fmla="*/ 151 h 302"/>
                    <a:gd name="T2" fmla="*/ 301 w 303"/>
                    <a:gd name="T3" fmla="*/ 134 h 302"/>
                    <a:gd name="T4" fmla="*/ 290 w 303"/>
                    <a:gd name="T5" fmla="*/ 121 h 302"/>
                    <a:gd name="T6" fmla="*/ 280 w 303"/>
                    <a:gd name="T7" fmla="*/ 122 h 302"/>
                    <a:gd name="T8" fmla="*/ 263 w 303"/>
                    <a:gd name="T9" fmla="*/ 82 h 302"/>
                    <a:gd name="T10" fmla="*/ 272 w 303"/>
                    <a:gd name="T11" fmla="*/ 75 h 302"/>
                    <a:gd name="T12" fmla="*/ 272 w 303"/>
                    <a:gd name="T13" fmla="*/ 62 h 302"/>
                    <a:gd name="T14" fmla="*/ 243 w 303"/>
                    <a:gd name="T15" fmla="*/ 33 h 302"/>
                    <a:gd name="T16" fmla="*/ 225 w 303"/>
                    <a:gd name="T17" fmla="*/ 34 h 302"/>
                    <a:gd name="T18" fmla="*/ 220 w 303"/>
                    <a:gd name="T19" fmla="*/ 40 h 302"/>
                    <a:gd name="T20" fmla="*/ 181 w 303"/>
                    <a:gd name="T21" fmla="*/ 24 h 302"/>
                    <a:gd name="T22" fmla="*/ 181 w 303"/>
                    <a:gd name="T23" fmla="*/ 14 h 302"/>
                    <a:gd name="T24" fmla="*/ 171 w 303"/>
                    <a:gd name="T25" fmla="*/ 1 h 302"/>
                    <a:gd name="T26" fmla="*/ 132 w 303"/>
                    <a:gd name="T27" fmla="*/ 1 h 302"/>
                    <a:gd name="T28" fmla="*/ 120 w 303"/>
                    <a:gd name="T29" fmla="*/ 14 h 302"/>
                    <a:gd name="T30" fmla="*/ 121 w 303"/>
                    <a:gd name="T31" fmla="*/ 23 h 302"/>
                    <a:gd name="T32" fmla="*/ 81 w 303"/>
                    <a:gd name="T33" fmla="*/ 40 h 302"/>
                    <a:gd name="T34" fmla="*/ 74 w 303"/>
                    <a:gd name="T35" fmla="*/ 31 h 302"/>
                    <a:gd name="T36" fmla="*/ 61 w 303"/>
                    <a:gd name="T37" fmla="*/ 31 h 302"/>
                    <a:gd name="T38" fmla="*/ 32 w 303"/>
                    <a:gd name="T39" fmla="*/ 59 h 302"/>
                    <a:gd name="T40" fmla="*/ 33 w 303"/>
                    <a:gd name="T41" fmla="*/ 77 h 302"/>
                    <a:gd name="T42" fmla="*/ 39 w 303"/>
                    <a:gd name="T43" fmla="*/ 82 h 302"/>
                    <a:gd name="T44" fmla="*/ 23 w 303"/>
                    <a:gd name="T45" fmla="*/ 122 h 302"/>
                    <a:gd name="T46" fmla="*/ 11 w 303"/>
                    <a:gd name="T47" fmla="*/ 121 h 302"/>
                    <a:gd name="T48" fmla="*/ 9 w 303"/>
                    <a:gd name="T49" fmla="*/ 121 h 302"/>
                    <a:gd name="T50" fmla="*/ 1 w 303"/>
                    <a:gd name="T51" fmla="*/ 131 h 302"/>
                    <a:gd name="T52" fmla="*/ 1 w 303"/>
                    <a:gd name="T53" fmla="*/ 169 h 302"/>
                    <a:gd name="T54" fmla="*/ 12 w 303"/>
                    <a:gd name="T55" fmla="*/ 181 h 302"/>
                    <a:gd name="T56" fmla="*/ 22 w 303"/>
                    <a:gd name="T57" fmla="*/ 181 h 302"/>
                    <a:gd name="T58" fmla="*/ 38 w 303"/>
                    <a:gd name="T59" fmla="*/ 220 h 302"/>
                    <a:gd name="T60" fmla="*/ 38 w 303"/>
                    <a:gd name="T61" fmla="*/ 220 h 302"/>
                    <a:gd name="T62" fmla="*/ 30 w 303"/>
                    <a:gd name="T63" fmla="*/ 227 h 302"/>
                    <a:gd name="T64" fmla="*/ 29 w 303"/>
                    <a:gd name="T65" fmla="*/ 240 h 302"/>
                    <a:gd name="T66" fmla="*/ 61 w 303"/>
                    <a:gd name="T67" fmla="*/ 271 h 302"/>
                    <a:gd name="T68" fmla="*/ 74 w 303"/>
                    <a:gd name="T69" fmla="*/ 271 h 302"/>
                    <a:gd name="T70" fmla="*/ 81 w 303"/>
                    <a:gd name="T71" fmla="*/ 264 h 302"/>
                    <a:gd name="T72" fmla="*/ 122 w 303"/>
                    <a:gd name="T73" fmla="*/ 281 h 302"/>
                    <a:gd name="T74" fmla="*/ 121 w 303"/>
                    <a:gd name="T75" fmla="*/ 291 h 302"/>
                    <a:gd name="T76" fmla="*/ 130 w 303"/>
                    <a:gd name="T77" fmla="*/ 301 h 302"/>
                    <a:gd name="T78" fmla="*/ 168 w 303"/>
                    <a:gd name="T79" fmla="*/ 301 h 302"/>
                    <a:gd name="T80" fmla="*/ 180 w 303"/>
                    <a:gd name="T81" fmla="*/ 286 h 302"/>
                    <a:gd name="T82" fmla="*/ 180 w 303"/>
                    <a:gd name="T83" fmla="*/ 281 h 302"/>
                    <a:gd name="T84" fmla="*/ 221 w 303"/>
                    <a:gd name="T85" fmla="*/ 264 h 302"/>
                    <a:gd name="T86" fmla="*/ 227 w 303"/>
                    <a:gd name="T87" fmla="*/ 271 h 302"/>
                    <a:gd name="T88" fmla="*/ 241 w 303"/>
                    <a:gd name="T89" fmla="*/ 271 h 302"/>
                    <a:gd name="T90" fmla="*/ 271 w 303"/>
                    <a:gd name="T91" fmla="*/ 242 h 302"/>
                    <a:gd name="T92" fmla="*/ 271 w 303"/>
                    <a:gd name="T93" fmla="*/ 228 h 302"/>
                    <a:gd name="T94" fmla="*/ 263 w 303"/>
                    <a:gd name="T95" fmla="*/ 222 h 302"/>
                    <a:gd name="T96" fmla="*/ 280 w 303"/>
                    <a:gd name="T97" fmla="*/ 181 h 302"/>
                    <a:gd name="T98" fmla="*/ 299 w 303"/>
                    <a:gd name="T99" fmla="*/ 179 h 302"/>
                    <a:gd name="T100" fmla="*/ 300 w 303"/>
                    <a:gd name="T101" fmla="*/ 151 h 302"/>
                    <a:gd name="T102" fmla="*/ 151 w 303"/>
                    <a:gd name="T103" fmla="*/ 230 h 302"/>
                    <a:gd name="T104" fmla="*/ 72 w 303"/>
                    <a:gd name="T105" fmla="*/ 151 h 302"/>
                    <a:gd name="T106" fmla="*/ 151 w 303"/>
                    <a:gd name="T107" fmla="*/ 72 h 302"/>
                    <a:gd name="T108" fmla="*/ 230 w 303"/>
                    <a:gd name="T109" fmla="*/ 151 h 302"/>
                    <a:gd name="T110" fmla="*/ 151 w 303"/>
                    <a:gd name="T111" fmla="*/ 23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302">
                      <a:moveTo>
                        <a:pt x="300" y="151"/>
                      </a:moveTo>
                      <a:cubicBezTo>
                        <a:pt x="301" y="146"/>
                        <a:pt x="300" y="140"/>
                        <a:pt x="301" y="134"/>
                      </a:cubicBezTo>
                      <a:cubicBezTo>
                        <a:pt x="302" y="124"/>
                        <a:pt x="299" y="120"/>
                        <a:pt x="290" y="121"/>
                      </a:cubicBezTo>
                      <a:cubicBezTo>
                        <a:pt x="287" y="121"/>
                        <a:pt x="283" y="122"/>
                        <a:pt x="280" y="122"/>
                      </a:cubicBezTo>
                      <a:cubicBezTo>
                        <a:pt x="276" y="108"/>
                        <a:pt x="270" y="94"/>
                        <a:pt x="263" y="82"/>
                      </a:cubicBezTo>
                      <a:cubicBezTo>
                        <a:pt x="265" y="79"/>
                        <a:pt x="269" y="77"/>
                        <a:pt x="272" y="75"/>
                      </a:cubicBezTo>
                      <a:cubicBezTo>
                        <a:pt x="277" y="70"/>
                        <a:pt x="278" y="67"/>
                        <a:pt x="272" y="62"/>
                      </a:cubicBezTo>
                      <a:cubicBezTo>
                        <a:pt x="262" y="53"/>
                        <a:pt x="252" y="44"/>
                        <a:pt x="243" y="33"/>
                      </a:cubicBezTo>
                      <a:cubicBezTo>
                        <a:pt x="237" y="26"/>
                        <a:pt x="231" y="25"/>
                        <a:pt x="225" y="34"/>
                      </a:cubicBezTo>
                      <a:cubicBezTo>
                        <a:pt x="224" y="36"/>
                        <a:pt x="222" y="38"/>
                        <a:pt x="220" y="40"/>
                      </a:cubicBezTo>
                      <a:cubicBezTo>
                        <a:pt x="208" y="32"/>
                        <a:pt x="195" y="27"/>
                        <a:pt x="181" y="24"/>
                      </a:cubicBezTo>
                      <a:cubicBezTo>
                        <a:pt x="181" y="21"/>
                        <a:pt x="180" y="18"/>
                        <a:pt x="181" y="14"/>
                      </a:cubicBezTo>
                      <a:cubicBezTo>
                        <a:pt x="183" y="4"/>
                        <a:pt x="179" y="0"/>
                        <a:pt x="171" y="1"/>
                      </a:cubicBezTo>
                      <a:cubicBezTo>
                        <a:pt x="158" y="2"/>
                        <a:pt x="145" y="2"/>
                        <a:pt x="132" y="1"/>
                      </a:cubicBezTo>
                      <a:cubicBezTo>
                        <a:pt x="123" y="1"/>
                        <a:pt x="120" y="4"/>
                        <a:pt x="120" y="14"/>
                      </a:cubicBezTo>
                      <a:cubicBezTo>
                        <a:pt x="121" y="17"/>
                        <a:pt x="121" y="20"/>
                        <a:pt x="121" y="23"/>
                      </a:cubicBezTo>
                      <a:cubicBezTo>
                        <a:pt x="107" y="27"/>
                        <a:pt x="93" y="32"/>
                        <a:pt x="81" y="40"/>
                      </a:cubicBezTo>
                      <a:cubicBezTo>
                        <a:pt x="79" y="37"/>
                        <a:pt x="77" y="34"/>
                        <a:pt x="74" y="31"/>
                      </a:cubicBezTo>
                      <a:cubicBezTo>
                        <a:pt x="69" y="25"/>
                        <a:pt x="66" y="26"/>
                        <a:pt x="61" y="31"/>
                      </a:cubicBezTo>
                      <a:cubicBezTo>
                        <a:pt x="52" y="41"/>
                        <a:pt x="42" y="51"/>
                        <a:pt x="32" y="59"/>
                      </a:cubicBezTo>
                      <a:cubicBezTo>
                        <a:pt x="23" y="67"/>
                        <a:pt x="25" y="71"/>
                        <a:pt x="33" y="77"/>
                      </a:cubicBezTo>
                      <a:cubicBezTo>
                        <a:pt x="34" y="79"/>
                        <a:pt x="37" y="80"/>
                        <a:pt x="39" y="82"/>
                      </a:cubicBezTo>
                      <a:cubicBezTo>
                        <a:pt x="32" y="94"/>
                        <a:pt x="26" y="107"/>
                        <a:pt x="23" y="122"/>
                      </a:cubicBezTo>
                      <a:cubicBezTo>
                        <a:pt x="19" y="122"/>
                        <a:pt x="14" y="120"/>
                        <a:pt x="11" y="121"/>
                      </a:cubicBezTo>
                      <a:cubicBezTo>
                        <a:pt x="10" y="121"/>
                        <a:pt x="10" y="121"/>
                        <a:pt x="9" y="121"/>
                      </a:cubicBezTo>
                      <a:cubicBezTo>
                        <a:pt x="2" y="120"/>
                        <a:pt x="1" y="124"/>
                        <a:pt x="1" y="131"/>
                      </a:cubicBezTo>
                      <a:cubicBezTo>
                        <a:pt x="2" y="144"/>
                        <a:pt x="2" y="157"/>
                        <a:pt x="1" y="169"/>
                      </a:cubicBezTo>
                      <a:cubicBezTo>
                        <a:pt x="0" y="179"/>
                        <a:pt x="4" y="183"/>
                        <a:pt x="12" y="181"/>
                      </a:cubicBezTo>
                      <a:cubicBezTo>
                        <a:pt x="16" y="180"/>
                        <a:pt x="19" y="180"/>
                        <a:pt x="22" y="181"/>
                      </a:cubicBezTo>
                      <a:cubicBezTo>
                        <a:pt x="25" y="195"/>
                        <a:pt x="31" y="208"/>
                        <a:pt x="38" y="220"/>
                      </a:cubicBezTo>
                      <a:cubicBezTo>
                        <a:pt x="38" y="220"/>
                        <a:pt x="38" y="220"/>
                        <a:pt x="38" y="220"/>
                      </a:cubicBezTo>
                      <a:cubicBezTo>
                        <a:pt x="35" y="222"/>
                        <a:pt x="33" y="225"/>
                        <a:pt x="30" y="227"/>
                      </a:cubicBezTo>
                      <a:cubicBezTo>
                        <a:pt x="24" y="231"/>
                        <a:pt x="23" y="234"/>
                        <a:pt x="29" y="240"/>
                      </a:cubicBezTo>
                      <a:cubicBezTo>
                        <a:pt x="40" y="250"/>
                        <a:pt x="50" y="261"/>
                        <a:pt x="61" y="271"/>
                      </a:cubicBezTo>
                      <a:cubicBezTo>
                        <a:pt x="66" y="277"/>
                        <a:pt x="69" y="277"/>
                        <a:pt x="74" y="271"/>
                      </a:cubicBezTo>
                      <a:cubicBezTo>
                        <a:pt x="76" y="269"/>
                        <a:pt x="78" y="266"/>
                        <a:pt x="81" y="264"/>
                      </a:cubicBezTo>
                      <a:cubicBezTo>
                        <a:pt x="93" y="272"/>
                        <a:pt x="107" y="277"/>
                        <a:pt x="122" y="281"/>
                      </a:cubicBezTo>
                      <a:cubicBezTo>
                        <a:pt x="122" y="283"/>
                        <a:pt x="121" y="286"/>
                        <a:pt x="121" y="291"/>
                      </a:cubicBezTo>
                      <a:cubicBezTo>
                        <a:pt x="119" y="299"/>
                        <a:pt x="124" y="301"/>
                        <a:pt x="130" y="301"/>
                      </a:cubicBezTo>
                      <a:cubicBezTo>
                        <a:pt x="143" y="300"/>
                        <a:pt x="155" y="300"/>
                        <a:pt x="168" y="301"/>
                      </a:cubicBezTo>
                      <a:cubicBezTo>
                        <a:pt x="178" y="302"/>
                        <a:pt x="182" y="298"/>
                        <a:pt x="180" y="286"/>
                      </a:cubicBezTo>
                      <a:cubicBezTo>
                        <a:pt x="180" y="284"/>
                        <a:pt x="180" y="282"/>
                        <a:pt x="180" y="281"/>
                      </a:cubicBezTo>
                      <a:cubicBezTo>
                        <a:pt x="195" y="278"/>
                        <a:pt x="209" y="272"/>
                        <a:pt x="221" y="264"/>
                      </a:cubicBezTo>
                      <a:cubicBezTo>
                        <a:pt x="223" y="265"/>
                        <a:pt x="225" y="268"/>
                        <a:pt x="227" y="271"/>
                      </a:cubicBezTo>
                      <a:cubicBezTo>
                        <a:pt x="231" y="277"/>
                        <a:pt x="235" y="278"/>
                        <a:pt x="241" y="271"/>
                      </a:cubicBezTo>
                      <a:cubicBezTo>
                        <a:pt x="250" y="261"/>
                        <a:pt x="261" y="251"/>
                        <a:pt x="271" y="242"/>
                      </a:cubicBezTo>
                      <a:cubicBezTo>
                        <a:pt x="276" y="237"/>
                        <a:pt x="278" y="232"/>
                        <a:pt x="271" y="228"/>
                      </a:cubicBezTo>
                      <a:cubicBezTo>
                        <a:pt x="267" y="226"/>
                        <a:pt x="265" y="224"/>
                        <a:pt x="263" y="222"/>
                      </a:cubicBezTo>
                      <a:cubicBezTo>
                        <a:pt x="271" y="209"/>
                        <a:pt x="277" y="196"/>
                        <a:pt x="280" y="181"/>
                      </a:cubicBezTo>
                      <a:cubicBezTo>
                        <a:pt x="287" y="181"/>
                        <a:pt x="296" y="185"/>
                        <a:pt x="299" y="179"/>
                      </a:cubicBezTo>
                      <a:cubicBezTo>
                        <a:pt x="303" y="172"/>
                        <a:pt x="300" y="161"/>
                        <a:pt x="300" y="151"/>
                      </a:cubicBezTo>
                      <a:close/>
                      <a:moveTo>
                        <a:pt x="151" y="230"/>
                      </a:moveTo>
                      <a:cubicBezTo>
                        <a:pt x="107" y="230"/>
                        <a:pt x="72" y="195"/>
                        <a:pt x="72" y="151"/>
                      </a:cubicBezTo>
                      <a:cubicBezTo>
                        <a:pt x="72" y="107"/>
                        <a:pt x="107" y="72"/>
                        <a:pt x="151" y="72"/>
                      </a:cubicBezTo>
                      <a:cubicBezTo>
                        <a:pt x="195" y="72"/>
                        <a:pt x="230" y="107"/>
                        <a:pt x="230" y="151"/>
                      </a:cubicBezTo>
                      <a:cubicBezTo>
                        <a:pt x="230" y="195"/>
                        <a:pt x="195" y="230"/>
                        <a:pt x="151" y="230"/>
                      </a:cubicBezTo>
                      <a:close/>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8" name="Oval 6"/>
                <p:cNvSpPr>
                  <a:spLocks noChangeArrowheads="1"/>
                </p:cNvSpPr>
                <p:nvPr/>
              </p:nvSpPr>
              <p:spPr bwMode="auto">
                <a:xfrm>
                  <a:off x="1042" y="2011"/>
                  <a:ext cx="389" cy="389"/>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28" name="Freeform 127"/>
              <p:cNvSpPr/>
              <p:nvPr/>
            </p:nvSpPr>
            <p:spPr bwMode="auto">
              <a:xfrm>
                <a:off x="4585178" y="3323071"/>
                <a:ext cx="339143" cy="363518"/>
              </a:xfrm>
              <a:custGeom>
                <a:avLst/>
                <a:gdLst>
                  <a:gd name="connsiteX0" fmla="*/ 437394 w 500666"/>
                  <a:gd name="connsiteY0" fmla="*/ 0 h 536650"/>
                  <a:gd name="connsiteX1" fmla="*/ 500666 w 500666"/>
                  <a:gd name="connsiteY1" fmla="*/ 63272 h 536650"/>
                  <a:gd name="connsiteX2" fmla="*/ 437394 w 500666"/>
                  <a:gd name="connsiteY2" fmla="*/ 126544 h 536650"/>
                  <a:gd name="connsiteX3" fmla="*/ 412766 w 500666"/>
                  <a:gd name="connsiteY3" fmla="*/ 121572 h 536650"/>
                  <a:gd name="connsiteX4" fmla="*/ 411363 w 500666"/>
                  <a:gd name="connsiteY4" fmla="*/ 120626 h 536650"/>
                  <a:gd name="connsiteX5" fmla="*/ 376504 w 500666"/>
                  <a:gd name="connsiteY5" fmla="*/ 164195 h 536650"/>
                  <a:gd name="connsiteX6" fmla="*/ 377311 w 500666"/>
                  <a:gd name="connsiteY6" fmla="*/ 164739 h 536650"/>
                  <a:gd name="connsiteX7" fmla="*/ 409480 w 500666"/>
                  <a:gd name="connsiteY7" fmla="*/ 242402 h 536650"/>
                  <a:gd name="connsiteX8" fmla="*/ 299648 w 500666"/>
                  <a:gd name="connsiteY8" fmla="*/ 352234 h 536650"/>
                  <a:gd name="connsiteX9" fmla="*/ 285638 w 500666"/>
                  <a:gd name="connsiteY9" fmla="*/ 349405 h 536650"/>
                  <a:gd name="connsiteX10" fmla="*/ 267537 w 500666"/>
                  <a:gd name="connsiteY10" fmla="*/ 427306 h 536650"/>
                  <a:gd name="connsiteX11" fmla="*/ 270754 w 500666"/>
                  <a:gd name="connsiteY11" fmla="*/ 428638 h 536650"/>
                  <a:gd name="connsiteX12" fmla="*/ 289286 w 500666"/>
                  <a:gd name="connsiteY12" fmla="*/ 473378 h 536650"/>
                  <a:gd name="connsiteX13" fmla="*/ 226014 w 500666"/>
                  <a:gd name="connsiteY13" fmla="*/ 536650 h 536650"/>
                  <a:gd name="connsiteX14" fmla="*/ 162742 w 500666"/>
                  <a:gd name="connsiteY14" fmla="*/ 473378 h 536650"/>
                  <a:gd name="connsiteX15" fmla="*/ 181274 w 500666"/>
                  <a:gd name="connsiteY15" fmla="*/ 428638 h 536650"/>
                  <a:gd name="connsiteX16" fmla="*/ 224445 w 500666"/>
                  <a:gd name="connsiteY16" fmla="*/ 410756 h 536650"/>
                  <a:gd name="connsiteX17" fmla="*/ 242331 w 500666"/>
                  <a:gd name="connsiteY17" fmla="*/ 333782 h 536650"/>
                  <a:gd name="connsiteX18" fmla="*/ 221985 w 500666"/>
                  <a:gd name="connsiteY18" fmla="*/ 320065 h 536650"/>
                  <a:gd name="connsiteX19" fmla="*/ 198447 w 500666"/>
                  <a:gd name="connsiteY19" fmla="*/ 285154 h 536650"/>
                  <a:gd name="connsiteX20" fmla="*/ 192213 w 500666"/>
                  <a:gd name="connsiteY20" fmla="*/ 254275 h 536650"/>
                  <a:gd name="connsiteX21" fmla="*/ 121928 w 500666"/>
                  <a:gd name="connsiteY21" fmla="*/ 254275 h 536650"/>
                  <a:gd name="connsiteX22" fmla="*/ 121572 w 500666"/>
                  <a:gd name="connsiteY22" fmla="*/ 256043 h 536650"/>
                  <a:gd name="connsiteX23" fmla="*/ 63272 w 500666"/>
                  <a:gd name="connsiteY23" fmla="*/ 294687 h 536650"/>
                  <a:gd name="connsiteX24" fmla="*/ 0 w 500666"/>
                  <a:gd name="connsiteY24" fmla="*/ 231415 h 536650"/>
                  <a:gd name="connsiteX25" fmla="*/ 63272 w 500666"/>
                  <a:gd name="connsiteY25" fmla="*/ 168143 h 536650"/>
                  <a:gd name="connsiteX26" fmla="*/ 121572 w 500666"/>
                  <a:gd name="connsiteY26" fmla="*/ 206787 h 536650"/>
                  <a:gd name="connsiteX27" fmla="*/ 121929 w 500666"/>
                  <a:gd name="connsiteY27" fmla="*/ 208556 h 536650"/>
                  <a:gd name="connsiteX28" fmla="*/ 196649 w 500666"/>
                  <a:gd name="connsiteY28" fmla="*/ 208556 h 536650"/>
                  <a:gd name="connsiteX29" fmla="*/ 198447 w 500666"/>
                  <a:gd name="connsiteY29" fmla="*/ 199650 h 536650"/>
                  <a:gd name="connsiteX30" fmla="*/ 299648 w 500666"/>
                  <a:gd name="connsiteY30" fmla="*/ 132570 h 536650"/>
                  <a:gd name="connsiteX31" fmla="*/ 337191 w 500666"/>
                  <a:gd name="connsiteY31" fmla="*/ 140149 h 536650"/>
                  <a:gd name="connsiteX32" fmla="*/ 379074 w 500666"/>
                  <a:gd name="connsiteY32" fmla="*/ 87801 h 536650"/>
                  <a:gd name="connsiteX33" fmla="*/ 374122 w 500666"/>
                  <a:gd name="connsiteY33" fmla="*/ 63272 h 536650"/>
                  <a:gd name="connsiteX34" fmla="*/ 437394 w 500666"/>
                  <a:gd name="connsiteY34" fmla="*/ 0 h 53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00666" h="536650">
                    <a:moveTo>
                      <a:pt x="437394" y="0"/>
                    </a:moveTo>
                    <a:cubicBezTo>
                      <a:pt x="472338" y="0"/>
                      <a:pt x="500666" y="28328"/>
                      <a:pt x="500666" y="63272"/>
                    </a:cubicBezTo>
                    <a:cubicBezTo>
                      <a:pt x="500666" y="98216"/>
                      <a:pt x="472338" y="126544"/>
                      <a:pt x="437394" y="126544"/>
                    </a:cubicBezTo>
                    <a:cubicBezTo>
                      <a:pt x="428658" y="126544"/>
                      <a:pt x="420336" y="124773"/>
                      <a:pt x="412766" y="121572"/>
                    </a:cubicBezTo>
                    <a:lnTo>
                      <a:pt x="411363" y="120626"/>
                    </a:lnTo>
                    <a:lnTo>
                      <a:pt x="376504" y="164195"/>
                    </a:lnTo>
                    <a:lnTo>
                      <a:pt x="377311" y="164739"/>
                    </a:lnTo>
                    <a:cubicBezTo>
                      <a:pt x="397187" y="184614"/>
                      <a:pt x="409480" y="212072"/>
                      <a:pt x="409480" y="242402"/>
                    </a:cubicBezTo>
                    <a:cubicBezTo>
                      <a:pt x="409480" y="303061"/>
                      <a:pt x="360307" y="352234"/>
                      <a:pt x="299648" y="352234"/>
                    </a:cubicBezTo>
                    <a:lnTo>
                      <a:pt x="285638" y="349405"/>
                    </a:lnTo>
                    <a:lnTo>
                      <a:pt x="267537" y="427306"/>
                    </a:lnTo>
                    <a:lnTo>
                      <a:pt x="270754" y="428638"/>
                    </a:lnTo>
                    <a:cubicBezTo>
                      <a:pt x="282204" y="440088"/>
                      <a:pt x="289286" y="455906"/>
                      <a:pt x="289286" y="473378"/>
                    </a:cubicBezTo>
                    <a:cubicBezTo>
                      <a:pt x="289286" y="508322"/>
                      <a:pt x="260958" y="536650"/>
                      <a:pt x="226014" y="536650"/>
                    </a:cubicBezTo>
                    <a:cubicBezTo>
                      <a:pt x="191070" y="536650"/>
                      <a:pt x="162742" y="508322"/>
                      <a:pt x="162742" y="473378"/>
                    </a:cubicBezTo>
                    <a:cubicBezTo>
                      <a:pt x="162742" y="455906"/>
                      <a:pt x="169824" y="440088"/>
                      <a:pt x="181274" y="428638"/>
                    </a:cubicBezTo>
                    <a:lnTo>
                      <a:pt x="224445" y="410756"/>
                    </a:lnTo>
                    <a:lnTo>
                      <a:pt x="242331" y="333782"/>
                    </a:lnTo>
                    <a:lnTo>
                      <a:pt x="221985" y="320065"/>
                    </a:lnTo>
                    <a:cubicBezTo>
                      <a:pt x="212047" y="310127"/>
                      <a:pt x="204005" y="298294"/>
                      <a:pt x="198447" y="285154"/>
                    </a:cubicBezTo>
                    <a:lnTo>
                      <a:pt x="192213" y="254275"/>
                    </a:lnTo>
                    <a:lnTo>
                      <a:pt x="121928" y="254275"/>
                    </a:lnTo>
                    <a:lnTo>
                      <a:pt x="121572" y="256043"/>
                    </a:lnTo>
                    <a:cubicBezTo>
                      <a:pt x="111966" y="278752"/>
                      <a:pt x="89480" y="294687"/>
                      <a:pt x="63272" y="294687"/>
                    </a:cubicBezTo>
                    <a:cubicBezTo>
                      <a:pt x="28328" y="294687"/>
                      <a:pt x="0" y="266359"/>
                      <a:pt x="0" y="231415"/>
                    </a:cubicBezTo>
                    <a:cubicBezTo>
                      <a:pt x="0" y="196471"/>
                      <a:pt x="28328" y="168143"/>
                      <a:pt x="63272" y="168143"/>
                    </a:cubicBezTo>
                    <a:cubicBezTo>
                      <a:pt x="89480" y="168143"/>
                      <a:pt x="111966" y="184077"/>
                      <a:pt x="121572" y="206787"/>
                    </a:cubicBezTo>
                    <a:lnTo>
                      <a:pt x="121929" y="208556"/>
                    </a:lnTo>
                    <a:lnTo>
                      <a:pt x="196649" y="208556"/>
                    </a:lnTo>
                    <a:lnTo>
                      <a:pt x="198447" y="199650"/>
                    </a:lnTo>
                    <a:cubicBezTo>
                      <a:pt x="215121" y="160230"/>
                      <a:pt x="254154" y="132570"/>
                      <a:pt x="299648" y="132570"/>
                    </a:cubicBezTo>
                    <a:lnTo>
                      <a:pt x="337191" y="140149"/>
                    </a:lnTo>
                    <a:lnTo>
                      <a:pt x="379074" y="87801"/>
                    </a:lnTo>
                    <a:lnTo>
                      <a:pt x="374122" y="63272"/>
                    </a:lnTo>
                    <a:cubicBezTo>
                      <a:pt x="374122" y="28328"/>
                      <a:pt x="402450" y="0"/>
                      <a:pt x="437394" y="0"/>
                    </a:cubicBezTo>
                    <a:close/>
                  </a:path>
                </a:pathLst>
              </a:cu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grpSp>
        <p:nvGrpSpPr>
          <p:cNvPr id="90" name="Group 89"/>
          <p:cNvGrpSpPr/>
          <p:nvPr/>
        </p:nvGrpSpPr>
        <p:grpSpPr>
          <a:xfrm>
            <a:off x="569019" y="4327635"/>
            <a:ext cx="2926080" cy="1579450"/>
            <a:chOff x="504297" y="3519968"/>
            <a:chExt cx="2926080" cy="1579450"/>
          </a:xfrm>
        </p:grpSpPr>
        <p:sp>
          <p:nvSpPr>
            <p:cNvPr id="91" name="TextBox 90"/>
            <p:cNvSpPr txBox="1"/>
            <p:nvPr/>
          </p:nvSpPr>
          <p:spPr>
            <a:xfrm>
              <a:off x="504297" y="3519968"/>
              <a:ext cx="2926080" cy="849463"/>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Academic Knowledge API</a:t>
              </a:r>
            </a:p>
          </p:txBody>
        </p:sp>
        <p:sp>
          <p:nvSpPr>
            <p:cNvPr id="92" name="Rectangle 91"/>
            <p:cNvSpPr/>
            <p:nvPr/>
          </p:nvSpPr>
          <p:spPr>
            <a:xfrm>
              <a:off x="637301" y="4300738"/>
              <a:ext cx="2660073" cy="798680"/>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Explore relationships among academic papers, journals, and authors</a:t>
              </a:r>
            </a:p>
          </p:txBody>
        </p:sp>
      </p:grpSp>
      <p:grpSp>
        <p:nvGrpSpPr>
          <p:cNvPr id="93" name="Group 92"/>
          <p:cNvGrpSpPr/>
          <p:nvPr/>
        </p:nvGrpSpPr>
        <p:grpSpPr>
          <a:xfrm>
            <a:off x="8938391" y="4327635"/>
            <a:ext cx="2926080" cy="1814899"/>
            <a:chOff x="8873669" y="3519968"/>
            <a:chExt cx="2926080" cy="1814899"/>
          </a:xfrm>
        </p:grpSpPr>
        <p:sp>
          <p:nvSpPr>
            <p:cNvPr id="94" name="TextBox 93"/>
            <p:cNvSpPr txBox="1"/>
            <p:nvPr/>
          </p:nvSpPr>
          <p:spPr>
            <a:xfrm>
              <a:off x="8873669" y="3519968"/>
              <a:ext cx="2926080" cy="849463"/>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Recommendations API</a:t>
              </a:r>
            </a:p>
          </p:txBody>
        </p:sp>
        <p:sp>
          <p:nvSpPr>
            <p:cNvPr id="95" name="Rectangle 94"/>
            <p:cNvSpPr/>
            <p:nvPr/>
          </p:nvSpPr>
          <p:spPr>
            <a:xfrm>
              <a:off x="9006673" y="4300738"/>
              <a:ext cx="2660073" cy="1034129"/>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Provide personalized product recommendations for your customers</a:t>
              </a:r>
            </a:p>
          </p:txBody>
        </p:sp>
      </p:grpSp>
      <p:grpSp>
        <p:nvGrpSpPr>
          <p:cNvPr id="96" name="Group 95"/>
          <p:cNvGrpSpPr/>
          <p:nvPr/>
        </p:nvGrpSpPr>
        <p:grpSpPr>
          <a:xfrm>
            <a:off x="3358810" y="4327635"/>
            <a:ext cx="2926080" cy="1579450"/>
            <a:chOff x="3294088" y="3519968"/>
            <a:chExt cx="2926080" cy="1579450"/>
          </a:xfrm>
        </p:grpSpPr>
        <p:sp>
          <p:nvSpPr>
            <p:cNvPr id="97" name="TextBox 96"/>
            <p:cNvSpPr txBox="1"/>
            <p:nvPr/>
          </p:nvSpPr>
          <p:spPr>
            <a:xfrm>
              <a:off x="3294088" y="3519968"/>
              <a:ext cx="2926080" cy="849463"/>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Knowledge Exploration Service</a:t>
              </a:r>
            </a:p>
          </p:txBody>
        </p:sp>
        <p:sp>
          <p:nvSpPr>
            <p:cNvPr id="98" name="Rectangle 97"/>
            <p:cNvSpPr/>
            <p:nvPr/>
          </p:nvSpPr>
          <p:spPr>
            <a:xfrm>
              <a:off x="3427092" y="4300738"/>
              <a:ext cx="2660073" cy="798680"/>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Add interactive search over structured data to your project</a:t>
              </a:r>
            </a:p>
          </p:txBody>
        </p:sp>
      </p:grpSp>
      <p:grpSp>
        <p:nvGrpSpPr>
          <p:cNvPr id="99" name="Group 98"/>
          <p:cNvGrpSpPr/>
          <p:nvPr/>
        </p:nvGrpSpPr>
        <p:grpSpPr>
          <a:xfrm>
            <a:off x="6281605" y="4327635"/>
            <a:ext cx="2660073" cy="1579450"/>
            <a:chOff x="6216883" y="3519968"/>
            <a:chExt cx="2660073" cy="1579450"/>
          </a:xfrm>
        </p:grpSpPr>
        <p:sp>
          <p:nvSpPr>
            <p:cNvPr id="100" name="TextBox 99"/>
            <p:cNvSpPr txBox="1"/>
            <p:nvPr/>
          </p:nvSpPr>
          <p:spPr>
            <a:xfrm>
              <a:off x="6216883" y="3519968"/>
              <a:ext cx="2660073" cy="849463"/>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Entity Linking Service</a:t>
              </a:r>
            </a:p>
          </p:txBody>
        </p:sp>
        <p:sp>
          <p:nvSpPr>
            <p:cNvPr id="101" name="Rectangle 100"/>
            <p:cNvSpPr/>
            <p:nvPr/>
          </p:nvSpPr>
          <p:spPr>
            <a:xfrm>
              <a:off x="6216883" y="4300738"/>
              <a:ext cx="2660073" cy="798680"/>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Contextually extend knowledge of people, locations, and events</a:t>
              </a:r>
            </a:p>
          </p:txBody>
        </p:sp>
      </p:grpSp>
      <p:grpSp>
        <p:nvGrpSpPr>
          <p:cNvPr id="21" name="Group 20"/>
          <p:cNvGrpSpPr/>
          <p:nvPr/>
        </p:nvGrpSpPr>
        <p:grpSpPr>
          <a:xfrm>
            <a:off x="9601333" y="2704730"/>
            <a:ext cx="1600200" cy="1600200"/>
            <a:chOff x="9536611" y="2704730"/>
            <a:chExt cx="1600200" cy="1600200"/>
          </a:xfrm>
        </p:grpSpPr>
        <p:sp>
          <p:nvSpPr>
            <p:cNvPr id="32" name="Rectangle 31"/>
            <p:cNvSpPr/>
            <p:nvPr/>
          </p:nvSpPr>
          <p:spPr>
            <a:xfrm>
              <a:off x="9536611"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0" name="Group 19"/>
            <p:cNvGrpSpPr/>
            <p:nvPr/>
          </p:nvGrpSpPr>
          <p:grpSpPr>
            <a:xfrm>
              <a:off x="9742986" y="2913486"/>
              <a:ext cx="1187450" cy="1182688"/>
              <a:chOff x="9742986" y="2913486"/>
              <a:chExt cx="1187450" cy="1182688"/>
            </a:xfrm>
          </p:grpSpPr>
          <p:grpSp>
            <p:nvGrpSpPr>
              <p:cNvPr id="122" name="Group 4"/>
              <p:cNvGrpSpPr>
                <a:grpSpLocks noChangeAspect="1"/>
              </p:cNvGrpSpPr>
              <p:nvPr/>
            </p:nvGrpSpPr>
            <p:grpSpPr bwMode="auto">
              <a:xfrm>
                <a:off x="9742986" y="2913486"/>
                <a:ext cx="1187450" cy="1182688"/>
                <a:chOff x="864" y="1833"/>
                <a:chExt cx="748" cy="745"/>
              </a:xfrm>
            </p:grpSpPr>
            <p:sp>
              <p:nvSpPr>
                <p:cNvPr id="123" name="Freeform 5"/>
                <p:cNvSpPr>
                  <a:spLocks noEditPoints="1"/>
                </p:cNvSpPr>
                <p:nvPr/>
              </p:nvSpPr>
              <p:spPr bwMode="auto">
                <a:xfrm>
                  <a:off x="864" y="1833"/>
                  <a:ext cx="748" cy="745"/>
                </a:xfrm>
                <a:custGeom>
                  <a:avLst/>
                  <a:gdLst>
                    <a:gd name="T0" fmla="*/ 300 w 303"/>
                    <a:gd name="T1" fmla="*/ 151 h 302"/>
                    <a:gd name="T2" fmla="*/ 301 w 303"/>
                    <a:gd name="T3" fmla="*/ 134 h 302"/>
                    <a:gd name="T4" fmla="*/ 290 w 303"/>
                    <a:gd name="T5" fmla="*/ 121 h 302"/>
                    <a:gd name="T6" fmla="*/ 280 w 303"/>
                    <a:gd name="T7" fmla="*/ 122 h 302"/>
                    <a:gd name="T8" fmla="*/ 263 w 303"/>
                    <a:gd name="T9" fmla="*/ 82 h 302"/>
                    <a:gd name="T10" fmla="*/ 272 w 303"/>
                    <a:gd name="T11" fmla="*/ 75 h 302"/>
                    <a:gd name="T12" fmla="*/ 272 w 303"/>
                    <a:gd name="T13" fmla="*/ 62 h 302"/>
                    <a:gd name="T14" fmla="*/ 243 w 303"/>
                    <a:gd name="T15" fmla="*/ 33 h 302"/>
                    <a:gd name="T16" fmla="*/ 225 w 303"/>
                    <a:gd name="T17" fmla="*/ 34 h 302"/>
                    <a:gd name="T18" fmla="*/ 220 w 303"/>
                    <a:gd name="T19" fmla="*/ 40 h 302"/>
                    <a:gd name="T20" fmla="*/ 181 w 303"/>
                    <a:gd name="T21" fmla="*/ 24 h 302"/>
                    <a:gd name="T22" fmla="*/ 181 w 303"/>
                    <a:gd name="T23" fmla="*/ 14 h 302"/>
                    <a:gd name="T24" fmla="*/ 171 w 303"/>
                    <a:gd name="T25" fmla="*/ 1 h 302"/>
                    <a:gd name="T26" fmla="*/ 132 w 303"/>
                    <a:gd name="T27" fmla="*/ 1 h 302"/>
                    <a:gd name="T28" fmla="*/ 120 w 303"/>
                    <a:gd name="T29" fmla="*/ 14 h 302"/>
                    <a:gd name="T30" fmla="*/ 121 w 303"/>
                    <a:gd name="T31" fmla="*/ 23 h 302"/>
                    <a:gd name="T32" fmla="*/ 81 w 303"/>
                    <a:gd name="T33" fmla="*/ 40 h 302"/>
                    <a:gd name="T34" fmla="*/ 74 w 303"/>
                    <a:gd name="T35" fmla="*/ 31 h 302"/>
                    <a:gd name="T36" fmla="*/ 61 w 303"/>
                    <a:gd name="T37" fmla="*/ 31 h 302"/>
                    <a:gd name="T38" fmla="*/ 32 w 303"/>
                    <a:gd name="T39" fmla="*/ 59 h 302"/>
                    <a:gd name="T40" fmla="*/ 33 w 303"/>
                    <a:gd name="T41" fmla="*/ 77 h 302"/>
                    <a:gd name="T42" fmla="*/ 39 w 303"/>
                    <a:gd name="T43" fmla="*/ 82 h 302"/>
                    <a:gd name="T44" fmla="*/ 23 w 303"/>
                    <a:gd name="T45" fmla="*/ 122 h 302"/>
                    <a:gd name="T46" fmla="*/ 11 w 303"/>
                    <a:gd name="T47" fmla="*/ 121 h 302"/>
                    <a:gd name="T48" fmla="*/ 9 w 303"/>
                    <a:gd name="T49" fmla="*/ 121 h 302"/>
                    <a:gd name="T50" fmla="*/ 1 w 303"/>
                    <a:gd name="T51" fmla="*/ 131 h 302"/>
                    <a:gd name="T52" fmla="*/ 1 w 303"/>
                    <a:gd name="T53" fmla="*/ 169 h 302"/>
                    <a:gd name="T54" fmla="*/ 12 w 303"/>
                    <a:gd name="T55" fmla="*/ 181 h 302"/>
                    <a:gd name="T56" fmla="*/ 22 w 303"/>
                    <a:gd name="T57" fmla="*/ 181 h 302"/>
                    <a:gd name="T58" fmla="*/ 38 w 303"/>
                    <a:gd name="T59" fmla="*/ 220 h 302"/>
                    <a:gd name="T60" fmla="*/ 38 w 303"/>
                    <a:gd name="T61" fmla="*/ 220 h 302"/>
                    <a:gd name="T62" fmla="*/ 30 w 303"/>
                    <a:gd name="T63" fmla="*/ 227 h 302"/>
                    <a:gd name="T64" fmla="*/ 29 w 303"/>
                    <a:gd name="T65" fmla="*/ 240 h 302"/>
                    <a:gd name="T66" fmla="*/ 61 w 303"/>
                    <a:gd name="T67" fmla="*/ 271 h 302"/>
                    <a:gd name="T68" fmla="*/ 74 w 303"/>
                    <a:gd name="T69" fmla="*/ 271 h 302"/>
                    <a:gd name="T70" fmla="*/ 81 w 303"/>
                    <a:gd name="T71" fmla="*/ 264 h 302"/>
                    <a:gd name="T72" fmla="*/ 122 w 303"/>
                    <a:gd name="T73" fmla="*/ 281 h 302"/>
                    <a:gd name="T74" fmla="*/ 121 w 303"/>
                    <a:gd name="T75" fmla="*/ 291 h 302"/>
                    <a:gd name="T76" fmla="*/ 130 w 303"/>
                    <a:gd name="T77" fmla="*/ 301 h 302"/>
                    <a:gd name="T78" fmla="*/ 168 w 303"/>
                    <a:gd name="T79" fmla="*/ 301 h 302"/>
                    <a:gd name="T80" fmla="*/ 180 w 303"/>
                    <a:gd name="T81" fmla="*/ 286 h 302"/>
                    <a:gd name="T82" fmla="*/ 180 w 303"/>
                    <a:gd name="T83" fmla="*/ 281 h 302"/>
                    <a:gd name="T84" fmla="*/ 221 w 303"/>
                    <a:gd name="T85" fmla="*/ 264 h 302"/>
                    <a:gd name="T86" fmla="*/ 227 w 303"/>
                    <a:gd name="T87" fmla="*/ 271 h 302"/>
                    <a:gd name="T88" fmla="*/ 241 w 303"/>
                    <a:gd name="T89" fmla="*/ 271 h 302"/>
                    <a:gd name="T90" fmla="*/ 271 w 303"/>
                    <a:gd name="T91" fmla="*/ 242 h 302"/>
                    <a:gd name="T92" fmla="*/ 271 w 303"/>
                    <a:gd name="T93" fmla="*/ 228 h 302"/>
                    <a:gd name="T94" fmla="*/ 263 w 303"/>
                    <a:gd name="T95" fmla="*/ 222 h 302"/>
                    <a:gd name="T96" fmla="*/ 280 w 303"/>
                    <a:gd name="T97" fmla="*/ 181 h 302"/>
                    <a:gd name="T98" fmla="*/ 299 w 303"/>
                    <a:gd name="T99" fmla="*/ 179 h 302"/>
                    <a:gd name="T100" fmla="*/ 300 w 303"/>
                    <a:gd name="T101" fmla="*/ 151 h 302"/>
                    <a:gd name="T102" fmla="*/ 151 w 303"/>
                    <a:gd name="T103" fmla="*/ 230 h 302"/>
                    <a:gd name="T104" fmla="*/ 72 w 303"/>
                    <a:gd name="T105" fmla="*/ 151 h 302"/>
                    <a:gd name="T106" fmla="*/ 151 w 303"/>
                    <a:gd name="T107" fmla="*/ 72 h 302"/>
                    <a:gd name="T108" fmla="*/ 230 w 303"/>
                    <a:gd name="T109" fmla="*/ 151 h 302"/>
                    <a:gd name="T110" fmla="*/ 151 w 303"/>
                    <a:gd name="T111" fmla="*/ 23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302">
                      <a:moveTo>
                        <a:pt x="300" y="151"/>
                      </a:moveTo>
                      <a:cubicBezTo>
                        <a:pt x="301" y="146"/>
                        <a:pt x="300" y="140"/>
                        <a:pt x="301" y="134"/>
                      </a:cubicBezTo>
                      <a:cubicBezTo>
                        <a:pt x="302" y="124"/>
                        <a:pt x="299" y="120"/>
                        <a:pt x="290" y="121"/>
                      </a:cubicBezTo>
                      <a:cubicBezTo>
                        <a:pt x="287" y="121"/>
                        <a:pt x="283" y="122"/>
                        <a:pt x="280" y="122"/>
                      </a:cubicBezTo>
                      <a:cubicBezTo>
                        <a:pt x="276" y="108"/>
                        <a:pt x="270" y="94"/>
                        <a:pt x="263" y="82"/>
                      </a:cubicBezTo>
                      <a:cubicBezTo>
                        <a:pt x="265" y="79"/>
                        <a:pt x="269" y="77"/>
                        <a:pt x="272" y="75"/>
                      </a:cubicBezTo>
                      <a:cubicBezTo>
                        <a:pt x="277" y="70"/>
                        <a:pt x="278" y="67"/>
                        <a:pt x="272" y="62"/>
                      </a:cubicBezTo>
                      <a:cubicBezTo>
                        <a:pt x="262" y="53"/>
                        <a:pt x="252" y="44"/>
                        <a:pt x="243" y="33"/>
                      </a:cubicBezTo>
                      <a:cubicBezTo>
                        <a:pt x="237" y="26"/>
                        <a:pt x="231" y="25"/>
                        <a:pt x="225" y="34"/>
                      </a:cubicBezTo>
                      <a:cubicBezTo>
                        <a:pt x="224" y="36"/>
                        <a:pt x="222" y="38"/>
                        <a:pt x="220" y="40"/>
                      </a:cubicBezTo>
                      <a:cubicBezTo>
                        <a:pt x="208" y="32"/>
                        <a:pt x="195" y="27"/>
                        <a:pt x="181" y="24"/>
                      </a:cubicBezTo>
                      <a:cubicBezTo>
                        <a:pt x="181" y="21"/>
                        <a:pt x="180" y="18"/>
                        <a:pt x="181" y="14"/>
                      </a:cubicBezTo>
                      <a:cubicBezTo>
                        <a:pt x="183" y="4"/>
                        <a:pt x="179" y="0"/>
                        <a:pt x="171" y="1"/>
                      </a:cubicBezTo>
                      <a:cubicBezTo>
                        <a:pt x="158" y="2"/>
                        <a:pt x="145" y="2"/>
                        <a:pt x="132" y="1"/>
                      </a:cubicBezTo>
                      <a:cubicBezTo>
                        <a:pt x="123" y="1"/>
                        <a:pt x="120" y="4"/>
                        <a:pt x="120" y="14"/>
                      </a:cubicBezTo>
                      <a:cubicBezTo>
                        <a:pt x="121" y="17"/>
                        <a:pt x="121" y="20"/>
                        <a:pt x="121" y="23"/>
                      </a:cubicBezTo>
                      <a:cubicBezTo>
                        <a:pt x="107" y="27"/>
                        <a:pt x="93" y="32"/>
                        <a:pt x="81" y="40"/>
                      </a:cubicBezTo>
                      <a:cubicBezTo>
                        <a:pt x="79" y="37"/>
                        <a:pt x="77" y="34"/>
                        <a:pt x="74" y="31"/>
                      </a:cubicBezTo>
                      <a:cubicBezTo>
                        <a:pt x="69" y="25"/>
                        <a:pt x="66" y="26"/>
                        <a:pt x="61" y="31"/>
                      </a:cubicBezTo>
                      <a:cubicBezTo>
                        <a:pt x="52" y="41"/>
                        <a:pt x="42" y="51"/>
                        <a:pt x="32" y="59"/>
                      </a:cubicBezTo>
                      <a:cubicBezTo>
                        <a:pt x="23" y="67"/>
                        <a:pt x="25" y="71"/>
                        <a:pt x="33" y="77"/>
                      </a:cubicBezTo>
                      <a:cubicBezTo>
                        <a:pt x="34" y="79"/>
                        <a:pt x="37" y="80"/>
                        <a:pt x="39" y="82"/>
                      </a:cubicBezTo>
                      <a:cubicBezTo>
                        <a:pt x="32" y="94"/>
                        <a:pt x="26" y="107"/>
                        <a:pt x="23" y="122"/>
                      </a:cubicBezTo>
                      <a:cubicBezTo>
                        <a:pt x="19" y="122"/>
                        <a:pt x="14" y="120"/>
                        <a:pt x="11" y="121"/>
                      </a:cubicBezTo>
                      <a:cubicBezTo>
                        <a:pt x="10" y="121"/>
                        <a:pt x="10" y="121"/>
                        <a:pt x="9" y="121"/>
                      </a:cubicBezTo>
                      <a:cubicBezTo>
                        <a:pt x="2" y="120"/>
                        <a:pt x="1" y="124"/>
                        <a:pt x="1" y="131"/>
                      </a:cubicBezTo>
                      <a:cubicBezTo>
                        <a:pt x="2" y="144"/>
                        <a:pt x="2" y="157"/>
                        <a:pt x="1" y="169"/>
                      </a:cubicBezTo>
                      <a:cubicBezTo>
                        <a:pt x="0" y="179"/>
                        <a:pt x="4" y="183"/>
                        <a:pt x="12" y="181"/>
                      </a:cubicBezTo>
                      <a:cubicBezTo>
                        <a:pt x="16" y="180"/>
                        <a:pt x="19" y="180"/>
                        <a:pt x="22" y="181"/>
                      </a:cubicBezTo>
                      <a:cubicBezTo>
                        <a:pt x="25" y="195"/>
                        <a:pt x="31" y="208"/>
                        <a:pt x="38" y="220"/>
                      </a:cubicBezTo>
                      <a:cubicBezTo>
                        <a:pt x="38" y="220"/>
                        <a:pt x="38" y="220"/>
                        <a:pt x="38" y="220"/>
                      </a:cubicBezTo>
                      <a:cubicBezTo>
                        <a:pt x="35" y="222"/>
                        <a:pt x="33" y="225"/>
                        <a:pt x="30" y="227"/>
                      </a:cubicBezTo>
                      <a:cubicBezTo>
                        <a:pt x="24" y="231"/>
                        <a:pt x="23" y="234"/>
                        <a:pt x="29" y="240"/>
                      </a:cubicBezTo>
                      <a:cubicBezTo>
                        <a:pt x="40" y="250"/>
                        <a:pt x="50" y="261"/>
                        <a:pt x="61" y="271"/>
                      </a:cubicBezTo>
                      <a:cubicBezTo>
                        <a:pt x="66" y="277"/>
                        <a:pt x="69" y="277"/>
                        <a:pt x="74" y="271"/>
                      </a:cubicBezTo>
                      <a:cubicBezTo>
                        <a:pt x="76" y="269"/>
                        <a:pt x="78" y="266"/>
                        <a:pt x="81" y="264"/>
                      </a:cubicBezTo>
                      <a:cubicBezTo>
                        <a:pt x="93" y="272"/>
                        <a:pt x="107" y="277"/>
                        <a:pt x="122" y="281"/>
                      </a:cubicBezTo>
                      <a:cubicBezTo>
                        <a:pt x="122" y="283"/>
                        <a:pt x="121" y="286"/>
                        <a:pt x="121" y="291"/>
                      </a:cubicBezTo>
                      <a:cubicBezTo>
                        <a:pt x="119" y="299"/>
                        <a:pt x="124" y="301"/>
                        <a:pt x="130" y="301"/>
                      </a:cubicBezTo>
                      <a:cubicBezTo>
                        <a:pt x="143" y="300"/>
                        <a:pt x="155" y="300"/>
                        <a:pt x="168" y="301"/>
                      </a:cubicBezTo>
                      <a:cubicBezTo>
                        <a:pt x="178" y="302"/>
                        <a:pt x="182" y="298"/>
                        <a:pt x="180" y="286"/>
                      </a:cubicBezTo>
                      <a:cubicBezTo>
                        <a:pt x="180" y="284"/>
                        <a:pt x="180" y="282"/>
                        <a:pt x="180" y="281"/>
                      </a:cubicBezTo>
                      <a:cubicBezTo>
                        <a:pt x="195" y="278"/>
                        <a:pt x="209" y="272"/>
                        <a:pt x="221" y="264"/>
                      </a:cubicBezTo>
                      <a:cubicBezTo>
                        <a:pt x="223" y="265"/>
                        <a:pt x="225" y="268"/>
                        <a:pt x="227" y="271"/>
                      </a:cubicBezTo>
                      <a:cubicBezTo>
                        <a:pt x="231" y="277"/>
                        <a:pt x="235" y="278"/>
                        <a:pt x="241" y="271"/>
                      </a:cubicBezTo>
                      <a:cubicBezTo>
                        <a:pt x="250" y="261"/>
                        <a:pt x="261" y="251"/>
                        <a:pt x="271" y="242"/>
                      </a:cubicBezTo>
                      <a:cubicBezTo>
                        <a:pt x="276" y="237"/>
                        <a:pt x="278" y="232"/>
                        <a:pt x="271" y="228"/>
                      </a:cubicBezTo>
                      <a:cubicBezTo>
                        <a:pt x="267" y="226"/>
                        <a:pt x="265" y="224"/>
                        <a:pt x="263" y="222"/>
                      </a:cubicBezTo>
                      <a:cubicBezTo>
                        <a:pt x="271" y="209"/>
                        <a:pt x="277" y="196"/>
                        <a:pt x="280" y="181"/>
                      </a:cubicBezTo>
                      <a:cubicBezTo>
                        <a:pt x="287" y="181"/>
                        <a:pt x="296" y="185"/>
                        <a:pt x="299" y="179"/>
                      </a:cubicBezTo>
                      <a:cubicBezTo>
                        <a:pt x="303" y="172"/>
                        <a:pt x="300" y="161"/>
                        <a:pt x="300" y="151"/>
                      </a:cubicBezTo>
                      <a:close/>
                      <a:moveTo>
                        <a:pt x="151" y="230"/>
                      </a:moveTo>
                      <a:cubicBezTo>
                        <a:pt x="107" y="230"/>
                        <a:pt x="72" y="195"/>
                        <a:pt x="72" y="151"/>
                      </a:cubicBezTo>
                      <a:cubicBezTo>
                        <a:pt x="72" y="107"/>
                        <a:pt x="107" y="72"/>
                        <a:pt x="151" y="72"/>
                      </a:cubicBezTo>
                      <a:cubicBezTo>
                        <a:pt x="195" y="72"/>
                        <a:pt x="230" y="107"/>
                        <a:pt x="230" y="151"/>
                      </a:cubicBezTo>
                      <a:cubicBezTo>
                        <a:pt x="230" y="195"/>
                        <a:pt x="195" y="230"/>
                        <a:pt x="151" y="230"/>
                      </a:cubicBezTo>
                      <a:close/>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4" name="Oval 6"/>
                <p:cNvSpPr>
                  <a:spLocks noChangeArrowheads="1"/>
                </p:cNvSpPr>
                <p:nvPr/>
              </p:nvSpPr>
              <p:spPr bwMode="auto">
                <a:xfrm>
                  <a:off x="1042" y="2011"/>
                  <a:ext cx="389" cy="389"/>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132" name="Freeform 5"/>
              <p:cNvSpPr>
                <a:spLocks/>
              </p:cNvSpPr>
              <p:nvPr/>
            </p:nvSpPr>
            <p:spPr bwMode="auto">
              <a:xfrm>
                <a:off x="10176635" y="3297789"/>
                <a:ext cx="365124" cy="365125"/>
              </a:xfrm>
              <a:custGeom>
                <a:avLst/>
                <a:gdLst>
                  <a:gd name="T0" fmla="*/ 20 w 91"/>
                  <a:gd name="T1" fmla="*/ 85 h 91"/>
                  <a:gd name="T2" fmla="*/ 15 w 91"/>
                  <a:gd name="T3" fmla="*/ 91 h 91"/>
                  <a:gd name="T4" fmla="*/ 3 w 91"/>
                  <a:gd name="T5" fmla="*/ 91 h 91"/>
                  <a:gd name="T6" fmla="*/ 0 w 91"/>
                  <a:gd name="T7" fmla="*/ 89 h 91"/>
                  <a:gd name="T8" fmla="*/ 0 w 91"/>
                  <a:gd name="T9" fmla="*/ 48 h 91"/>
                  <a:gd name="T10" fmla="*/ 3 w 91"/>
                  <a:gd name="T11" fmla="*/ 46 h 91"/>
                  <a:gd name="T12" fmla="*/ 17 w 91"/>
                  <a:gd name="T13" fmla="*/ 46 h 91"/>
                  <a:gd name="T14" fmla="*/ 21 w 91"/>
                  <a:gd name="T15" fmla="*/ 44 h 91"/>
                  <a:gd name="T16" fmla="*/ 31 w 91"/>
                  <a:gd name="T17" fmla="*/ 30 h 91"/>
                  <a:gd name="T18" fmla="*/ 44 w 91"/>
                  <a:gd name="T19" fmla="*/ 21 h 91"/>
                  <a:gd name="T20" fmla="*/ 55 w 91"/>
                  <a:gd name="T21" fmla="*/ 6 h 91"/>
                  <a:gd name="T22" fmla="*/ 56 w 91"/>
                  <a:gd name="T23" fmla="*/ 4 h 91"/>
                  <a:gd name="T24" fmla="*/ 63 w 91"/>
                  <a:gd name="T25" fmla="*/ 0 h 91"/>
                  <a:gd name="T26" fmla="*/ 67 w 91"/>
                  <a:gd name="T27" fmla="*/ 7 h 91"/>
                  <a:gd name="T28" fmla="*/ 62 w 91"/>
                  <a:gd name="T29" fmla="*/ 20 h 91"/>
                  <a:gd name="T30" fmla="*/ 55 w 91"/>
                  <a:gd name="T31" fmla="*/ 34 h 91"/>
                  <a:gd name="T32" fmla="*/ 58 w 91"/>
                  <a:gd name="T33" fmla="*/ 37 h 91"/>
                  <a:gd name="T34" fmla="*/ 82 w 91"/>
                  <a:gd name="T35" fmla="*/ 37 h 91"/>
                  <a:gd name="T36" fmla="*/ 87 w 91"/>
                  <a:gd name="T37" fmla="*/ 46 h 91"/>
                  <a:gd name="T38" fmla="*/ 82 w 91"/>
                  <a:gd name="T39" fmla="*/ 54 h 91"/>
                  <a:gd name="T40" fmla="*/ 82 w 91"/>
                  <a:gd name="T41" fmla="*/ 59 h 91"/>
                  <a:gd name="T42" fmla="*/ 77 w 91"/>
                  <a:gd name="T43" fmla="*/ 71 h 91"/>
                  <a:gd name="T44" fmla="*/ 74 w 91"/>
                  <a:gd name="T45" fmla="*/ 77 h 91"/>
                  <a:gd name="T46" fmla="*/ 59 w 91"/>
                  <a:gd name="T47" fmla="*/ 91 h 91"/>
                  <a:gd name="T48" fmla="*/ 29 w 91"/>
                  <a:gd name="T49" fmla="*/ 89 h 91"/>
                  <a:gd name="T50" fmla="*/ 20 w 91"/>
                  <a:gd name="T51" fmla="*/ 8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91">
                    <a:moveTo>
                      <a:pt x="20" y="85"/>
                    </a:moveTo>
                    <a:cubicBezTo>
                      <a:pt x="21" y="91"/>
                      <a:pt x="19" y="91"/>
                      <a:pt x="15" y="91"/>
                    </a:cubicBezTo>
                    <a:cubicBezTo>
                      <a:pt x="11" y="91"/>
                      <a:pt x="7" y="91"/>
                      <a:pt x="3" y="91"/>
                    </a:cubicBezTo>
                    <a:cubicBezTo>
                      <a:pt x="1" y="91"/>
                      <a:pt x="0" y="91"/>
                      <a:pt x="0" y="89"/>
                    </a:cubicBezTo>
                    <a:cubicBezTo>
                      <a:pt x="0" y="75"/>
                      <a:pt x="0" y="61"/>
                      <a:pt x="0" y="48"/>
                    </a:cubicBezTo>
                    <a:cubicBezTo>
                      <a:pt x="0" y="46"/>
                      <a:pt x="1" y="46"/>
                      <a:pt x="3" y="46"/>
                    </a:cubicBezTo>
                    <a:cubicBezTo>
                      <a:pt x="8" y="46"/>
                      <a:pt x="12" y="46"/>
                      <a:pt x="17" y="46"/>
                    </a:cubicBezTo>
                    <a:cubicBezTo>
                      <a:pt x="19" y="46"/>
                      <a:pt x="20" y="46"/>
                      <a:pt x="21" y="44"/>
                    </a:cubicBezTo>
                    <a:cubicBezTo>
                      <a:pt x="22" y="37"/>
                      <a:pt x="26" y="33"/>
                      <a:pt x="31" y="30"/>
                    </a:cubicBezTo>
                    <a:cubicBezTo>
                      <a:pt x="35" y="27"/>
                      <a:pt x="40" y="24"/>
                      <a:pt x="44" y="21"/>
                    </a:cubicBezTo>
                    <a:cubicBezTo>
                      <a:pt x="49" y="17"/>
                      <a:pt x="53" y="13"/>
                      <a:pt x="55" y="6"/>
                    </a:cubicBezTo>
                    <a:cubicBezTo>
                      <a:pt x="56" y="6"/>
                      <a:pt x="56" y="5"/>
                      <a:pt x="56" y="4"/>
                    </a:cubicBezTo>
                    <a:cubicBezTo>
                      <a:pt x="58" y="2"/>
                      <a:pt x="60" y="0"/>
                      <a:pt x="63" y="0"/>
                    </a:cubicBezTo>
                    <a:cubicBezTo>
                      <a:pt x="66" y="1"/>
                      <a:pt x="67" y="4"/>
                      <a:pt x="67" y="7"/>
                    </a:cubicBezTo>
                    <a:cubicBezTo>
                      <a:pt x="67" y="12"/>
                      <a:pt x="65" y="16"/>
                      <a:pt x="62" y="20"/>
                    </a:cubicBezTo>
                    <a:cubicBezTo>
                      <a:pt x="59" y="24"/>
                      <a:pt x="57" y="29"/>
                      <a:pt x="55" y="34"/>
                    </a:cubicBezTo>
                    <a:cubicBezTo>
                      <a:pt x="55" y="37"/>
                      <a:pt x="55" y="37"/>
                      <a:pt x="58" y="37"/>
                    </a:cubicBezTo>
                    <a:cubicBezTo>
                      <a:pt x="66" y="37"/>
                      <a:pt x="74" y="37"/>
                      <a:pt x="82" y="37"/>
                    </a:cubicBezTo>
                    <a:cubicBezTo>
                      <a:pt x="89" y="37"/>
                      <a:pt x="91" y="40"/>
                      <a:pt x="87" y="46"/>
                    </a:cubicBezTo>
                    <a:cubicBezTo>
                      <a:pt x="86" y="49"/>
                      <a:pt x="84" y="51"/>
                      <a:pt x="82" y="54"/>
                    </a:cubicBezTo>
                    <a:cubicBezTo>
                      <a:pt x="81" y="55"/>
                      <a:pt x="82" y="57"/>
                      <a:pt x="82" y="59"/>
                    </a:cubicBezTo>
                    <a:cubicBezTo>
                      <a:pt x="82" y="63"/>
                      <a:pt x="81" y="67"/>
                      <a:pt x="77" y="71"/>
                    </a:cubicBezTo>
                    <a:cubicBezTo>
                      <a:pt x="75" y="72"/>
                      <a:pt x="75" y="75"/>
                      <a:pt x="74" y="77"/>
                    </a:cubicBezTo>
                    <a:cubicBezTo>
                      <a:pt x="73" y="86"/>
                      <a:pt x="67" y="91"/>
                      <a:pt x="59" y="91"/>
                    </a:cubicBezTo>
                    <a:cubicBezTo>
                      <a:pt x="49" y="91"/>
                      <a:pt x="39" y="90"/>
                      <a:pt x="29" y="89"/>
                    </a:cubicBezTo>
                    <a:cubicBezTo>
                      <a:pt x="26" y="88"/>
                      <a:pt x="23" y="87"/>
                      <a:pt x="20" y="85"/>
                    </a:cubicBezTo>
                    <a:close/>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26" name="Group 25"/>
          <p:cNvGrpSpPr/>
          <p:nvPr/>
        </p:nvGrpSpPr>
        <p:grpSpPr>
          <a:xfrm>
            <a:off x="1231961" y="2704730"/>
            <a:ext cx="1600200" cy="1600200"/>
            <a:chOff x="1167239" y="2704730"/>
            <a:chExt cx="1600200" cy="1600200"/>
          </a:xfrm>
        </p:grpSpPr>
        <p:sp>
          <p:nvSpPr>
            <p:cNvPr id="59" name="Rectangle 58"/>
            <p:cNvSpPr/>
            <p:nvPr/>
          </p:nvSpPr>
          <p:spPr>
            <a:xfrm>
              <a:off x="1167239"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25" name="Picture 24"/>
            <p:cNvPicPr>
              <a:picLocks noChangeAspect="1"/>
            </p:cNvPicPr>
            <p:nvPr/>
          </p:nvPicPr>
          <p:blipFill>
            <a:blip r:embed="rId3"/>
            <a:stretch>
              <a:fillRect/>
            </a:stretch>
          </p:blipFill>
          <p:spPr>
            <a:xfrm>
              <a:off x="1375976" y="2913467"/>
              <a:ext cx="1182727" cy="1182727"/>
            </a:xfrm>
            <a:prstGeom prst="rect">
              <a:avLst/>
            </a:prstGeom>
          </p:spPr>
        </p:pic>
      </p:grpSp>
    </p:spTree>
    <p:extLst>
      <p:ext uri="{BB962C8B-B14F-4D97-AF65-F5344CB8AC3E}">
        <p14:creationId xmlns:p14="http://schemas.microsoft.com/office/powerpoint/2010/main" val="2986331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xit" presetSubtype="0" fill="hold" nodeType="afterEffect">
                                  <p:stCondLst>
                                    <p:cond delay="0"/>
                                  </p:stCondLst>
                                  <p:childTnLst>
                                    <p:animEffect transition="out" filter="fade">
                                      <p:cBhvr>
                                        <p:cTn id="6" dur="300"/>
                                        <p:tgtEl>
                                          <p:spTgt spid="60"/>
                                        </p:tgtEl>
                                      </p:cBhvr>
                                    </p:animEffect>
                                    <p:anim calcmode="lin" valueType="num">
                                      <p:cBhvr>
                                        <p:cTn id="7" dur="300"/>
                                        <p:tgtEl>
                                          <p:spTgt spid="60"/>
                                        </p:tgtEl>
                                        <p:attrNameLst>
                                          <p:attrName>ppt_x</p:attrName>
                                        </p:attrNameLst>
                                      </p:cBhvr>
                                      <p:tavLst>
                                        <p:tav tm="0">
                                          <p:val>
                                            <p:strVal val="ppt_x"/>
                                          </p:val>
                                        </p:tav>
                                        <p:tav tm="100000">
                                          <p:val>
                                            <p:strVal val="ppt_x"/>
                                          </p:val>
                                        </p:tav>
                                      </p:tavLst>
                                    </p:anim>
                                    <p:anim calcmode="lin" valueType="num">
                                      <p:cBhvr>
                                        <p:cTn id="8" dur="300"/>
                                        <p:tgtEl>
                                          <p:spTgt spid="60"/>
                                        </p:tgtEl>
                                        <p:attrNameLst>
                                          <p:attrName>ppt_y</p:attrName>
                                        </p:attrNameLst>
                                      </p:cBhvr>
                                      <p:tavLst>
                                        <p:tav tm="0">
                                          <p:val>
                                            <p:strVal val="ppt_y"/>
                                          </p:val>
                                        </p:tav>
                                        <p:tav tm="100000">
                                          <p:val>
                                            <p:strVal val="ppt_y+.1"/>
                                          </p:val>
                                        </p:tav>
                                      </p:tavLst>
                                    </p:anim>
                                    <p:set>
                                      <p:cBhvr>
                                        <p:cTn id="9" dur="1" fill="hold">
                                          <p:stCondLst>
                                            <p:cond delay="299"/>
                                          </p:stCondLst>
                                        </p:cTn>
                                        <p:tgtEl>
                                          <p:spTgt spid="60"/>
                                        </p:tgtEl>
                                        <p:attrNameLst>
                                          <p:attrName>style.visibility</p:attrName>
                                        </p:attrNameLst>
                                      </p:cBhvr>
                                      <p:to>
                                        <p:strVal val="hidden"/>
                                      </p:to>
                                    </p:set>
                                  </p:childTnLst>
                                </p:cTn>
                              </p:par>
                              <p:par>
                                <p:cTn id="10" presetID="47"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00"/>
                                        <p:tgtEl>
                                          <p:spTgt spid="6"/>
                                        </p:tgtEl>
                                      </p:cBhvr>
                                    </p:animEffect>
                                    <p:anim calcmode="lin" valueType="num">
                                      <p:cBhvr>
                                        <p:cTn id="13" dur="300" fill="hold"/>
                                        <p:tgtEl>
                                          <p:spTgt spid="6"/>
                                        </p:tgtEl>
                                        <p:attrNameLst>
                                          <p:attrName>ppt_x</p:attrName>
                                        </p:attrNameLst>
                                      </p:cBhvr>
                                      <p:tavLst>
                                        <p:tav tm="0">
                                          <p:val>
                                            <p:strVal val="#ppt_x"/>
                                          </p:val>
                                        </p:tav>
                                        <p:tav tm="100000">
                                          <p:val>
                                            <p:strVal val="#ppt_x"/>
                                          </p:val>
                                        </p:tav>
                                      </p:tavLst>
                                    </p:anim>
                                    <p:anim calcmode="lin" valueType="num">
                                      <p:cBhvr>
                                        <p:cTn id="14" dur="3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arch</a:t>
            </a:r>
          </a:p>
        </p:txBody>
      </p:sp>
    </p:spTree>
    <p:extLst>
      <p:ext uri="{BB962C8B-B14F-4D97-AF65-F5344CB8AC3E}">
        <p14:creationId xmlns:p14="http://schemas.microsoft.com/office/powerpoint/2010/main" val="304190555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ectangle 182"/>
          <p:cNvSpPr/>
          <p:nvPr/>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95" name="Group 94"/>
          <p:cNvGrpSpPr/>
          <p:nvPr/>
        </p:nvGrpSpPr>
        <p:grpSpPr>
          <a:xfrm>
            <a:off x="680827" y="370483"/>
            <a:ext cx="3784810" cy="769441"/>
            <a:chOff x="680827" y="370483"/>
            <a:chExt cx="3784810" cy="769441"/>
          </a:xfrm>
        </p:grpSpPr>
        <p:sp>
          <p:nvSpPr>
            <p:cNvPr id="116" name="Rectangle 115"/>
            <p:cNvSpPr/>
            <p:nvPr/>
          </p:nvSpPr>
          <p:spPr>
            <a:xfrm>
              <a:off x="1356203" y="370483"/>
              <a:ext cx="3109434" cy="769441"/>
            </a:xfrm>
            <a:prstGeom prst="rect">
              <a:avLst/>
            </a:prstGeom>
            <a:noFill/>
          </p:spPr>
          <p:txBody>
            <a:bodyPr wrap="square" anchor="ctr">
              <a:spAutoFit/>
            </a:bodyPr>
            <a:lstStyle/>
            <a:p>
              <a:pPr marL="182845" marR="0" lvl="0" indent="0" algn="l" defTabSz="931741" rtl="0" eaLnBrk="1" fontAlgn="base" latinLnBrk="0" hangingPunct="1">
                <a:lnSpc>
                  <a:spcPct val="100000"/>
                </a:lnSpc>
                <a:spcBef>
                  <a:spcPts val="1199"/>
                </a:spcBef>
                <a:spcAft>
                  <a:spcPts val="1199"/>
                </a:spcAft>
                <a:buClrTx/>
                <a:buSzTx/>
                <a:buFontTx/>
                <a:buNone/>
                <a:tabLst/>
                <a:defRPr/>
              </a:pPr>
              <a:r>
                <a:rPr kumimoji="0" lang="en-US" sz="44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rPr>
                <a:t>Knowledge</a:t>
              </a:r>
            </a:p>
          </p:txBody>
        </p:sp>
        <p:sp>
          <p:nvSpPr>
            <p:cNvPr id="115" name="Freeform 5"/>
            <p:cNvSpPr>
              <a:spLocks/>
            </p:cNvSpPr>
            <p:nvPr/>
          </p:nvSpPr>
          <p:spPr bwMode="auto">
            <a:xfrm>
              <a:off x="680827" y="458609"/>
              <a:ext cx="660611" cy="660611"/>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 name="Group 1"/>
          <p:cNvGrpSpPr/>
          <p:nvPr/>
        </p:nvGrpSpPr>
        <p:grpSpPr>
          <a:xfrm>
            <a:off x="385794" y="369793"/>
            <a:ext cx="4079843" cy="775986"/>
            <a:chOff x="385794" y="369793"/>
            <a:chExt cx="4079843" cy="775986"/>
          </a:xfrm>
        </p:grpSpPr>
        <p:sp>
          <p:nvSpPr>
            <p:cNvPr id="123" name="Rectangle 122"/>
            <p:cNvSpPr/>
            <p:nvPr/>
          </p:nvSpPr>
          <p:spPr>
            <a:xfrm>
              <a:off x="385794" y="458609"/>
              <a:ext cx="1066799" cy="6606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9" name="Rectangle 128"/>
            <p:cNvSpPr/>
            <p:nvPr/>
          </p:nvSpPr>
          <p:spPr>
            <a:xfrm>
              <a:off x="1356203" y="369793"/>
              <a:ext cx="3109434" cy="769441"/>
            </a:xfrm>
            <a:prstGeom prst="rect">
              <a:avLst/>
            </a:prstGeom>
            <a:solidFill>
              <a:schemeClr val="accent1"/>
            </a:solidFill>
          </p:spPr>
          <p:txBody>
            <a:bodyPr wrap="square" anchor="ctr">
              <a:spAutoFit/>
            </a:bodyPr>
            <a:lstStyle/>
            <a:p>
              <a:pPr marL="182845" marR="0" lvl="0" indent="0" algn="l" defTabSz="931741" rtl="0" eaLnBrk="1" fontAlgn="base" latinLnBrk="0" hangingPunct="1">
                <a:lnSpc>
                  <a:spcPct val="100000"/>
                </a:lnSpc>
                <a:spcBef>
                  <a:spcPts val="1199"/>
                </a:spcBef>
                <a:spcAft>
                  <a:spcPts val="1199"/>
                </a:spcAft>
                <a:buClrTx/>
                <a:buSzTx/>
                <a:buFontTx/>
                <a:buNone/>
                <a:tabLst/>
                <a:defRPr/>
              </a:pPr>
              <a:r>
                <a:rPr kumimoji="0" lang="en-US" sz="4400" b="0" i="0" u="none" strike="noStrike" kern="0" cap="none" spc="0" normalizeH="0" baseline="0" noProof="0" dirty="0">
                  <a:ln>
                    <a:noFill/>
                  </a:ln>
                  <a:solidFill>
                    <a:prstClr val="white"/>
                  </a:solidFill>
                  <a:effectLst/>
                  <a:uLnTx/>
                  <a:uFillTx/>
                  <a:latin typeface="Segoe UI Light"/>
                  <a:ea typeface="+mn-ea"/>
                  <a:cs typeface="Segoe UI Semibold" panose="020B0702040204020203" pitchFamily="34" charset="0"/>
                </a:rPr>
                <a:t>Search</a:t>
              </a:r>
            </a:p>
          </p:txBody>
        </p:sp>
        <p:grpSp>
          <p:nvGrpSpPr>
            <p:cNvPr id="117" name="Group 116"/>
            <p:cNvGrpSpPr/>
            <p:nvPr/>
          </p:nvGrpSpPr>
          <p:grpSpPr>
            <a:xfrm>
              <a:off x="610542" y="462540"/>
              <a:ext cx="730895" cy="683239"/>
              <a:chOff x="10905951" y="3353835"/>
              <a:chExt cx="537571" cy="528489"/>
            </a:xfrm>
          </p:grpSpPr>
          <p:sp>
            <p:nvSpPr>
              <p:cNvPr id="118" name="Oval 13"/>
              <p:cNvSpPr>
                <a:spLocks noChangeArrowheads="1"/>
              </p:cNvSpPr>
              <p:nvPr/>
            </p:nvSpPr>
            <p:spPr bwMode="auto">
              <a:xfrm>
                <a:off x="11016824" y="3353835"/>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120" name="Freeform 14"/>
              <p:cNvSpPr>
                <a:spLocks/>
              </p:cNvSpPr>
              <p:nvPr/>
            </p:nvSpPr>
            <p:spPr bwMode="auto">
              <a:xfrm>
                <a:off x="10905951"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82" name="Group 181"/>
          <p:cNvGrpSpPr/>
          <p:nvPr/>
        </p:nvGrpSpPr>
        <p:grpSpPr>
          <a:xfrm>
            <a:off x="10255831" y="2704728"/>
            <a:ext cx="1600200" cy="1600200"/>
            <a:chOff x="10270699" y="2704728"/>
            <a:chExt cx="1600200" cy="1600200"/>
          </a:xfrm>
        </p:grpSpPr>
        <p:sp>
          <p:nvSpPr>
            <p:cNvPr id="27" name="Rectangle 26"/>
            <p:cNvSpPr/>
            <p:nvPr/>
          </p:nvSpPr>
          <p:spPr>
            <a:xfrm>
              <a:off x="10270699" y="2704728"/>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81" name="Group 180"/>
            <p:cNvGrpSpPr/>
            <p:nvPr/>
          </p:nvGrpSpPr>
          <p:grpSpPr>
            <a:xfrm>
              <a:off x="10499067" y="2976928"/>
              <a:ext cx="1143464" cy="1055801"/>
              <a:chOff x="10499067" y="2976928"/>
              <a:chExt cx="1143464" cy="1055801"/>
            </a:xfrm>
          </p:grpSpPr>
          <p:grpSp>
            <p:nvGrpSpPr>
              <p:cNvPr id="110" name="Group 109"/>
              <p:cNvGrpSpPr/>
              <p:nvPr/>
            </p:nvGrpSpPr>
            <p:grpSpPr>
              <a:xfrm>
                <a:off x="10499067" y="2976928"/>
                <a:ext cx="1143464" cy="1055801"/>
                <a:chOff x="5587334" y="5524242"/>
                <a:chExt cx="528992" cy="488437"/>
              </a:xfrm>
            </p:grpSpPr>
            <p:sp>
              <p:nvSpPr>
                <p:cNvPr id="111" name="Freeform 46"/>
                <p:cNvSpPr>
                  <a:spLocks noEditPoints="1"/>
                </p:cNvSpPr>
                <p:nvPr/>
              </p:nvSpPr>
              <p:spPr bwMode="auto">
                <a:xfrm>
                  <a:off x="5671973" y="5524242"/>
                  <a:ext cx="444353" cy="394982"/>
                </a:xfrm>
                <a:custGeom>
                  <a:avLst/>
                  <a:gdLst>
                    <a:gd name="T0" fmla="*/ 204 w 265"/>
                    <a:gd name="T1" fmla="*/ 38 h 236"/>
                    <a:gd name="T2" fmla="*/ 47 w 265"/>
                    <a:gd name="T3" fmla="*/ 43 h 236"/>
                    <a:gd name="T4" fmla="*/ 47 w 265"/>
                    <a:gd name="T5" fmla="*/ 203 h 236"/>
                    <a:gd name="T6" fmla="*/ 129 w 265"/>
                    <a:gd name="T7" fmla="*/ 236 h 236"/>
                    <a:gd name="T8" fmla="*/ 189 w 265"/>
                    <a:gd name="T9" fmla="*/ 220 h 236"/>
                    <a:gd name="T10" fmla="*/ 204 w 265"/>
                    <a:gd name="T11" fmla="*/ 38 h 236"/>
                    <a:gd name="T12" fmla="*/ 130 w 265"/>
                    <a:gd name="T13" fmla="*/ 202 h 236"/>
                    <a:gd name="T14" fmla="*/ 51 w 265"/>
                    <a:gd name="T15" fmla="*/ 123 h 236"/>
                    <a:gd name="T16" fmla="*/ 130 w 265"/>
                    <a:gd name="T17" fmla="*/ 44 h 236"/>
                    <a:gd name="T18" fmla="*/ 209 w 265"/>
                    <a:gd name="T19" fmla="*/ 123 h 236"/>
                    <a:gd name="T20" fmla="*/ 130 w 265"/>
                    <a:gd name="T21" fmla="*/ 20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5" h="236">
                      <a:moveTo>
                        <a:pt x="204" y="38"/>
                      </a:moveTo>
                      <a:cubicBezTo>
                        <a:pt x="158" y="0"/>
                        <a:pt x="90" y="3"/>
                        <a:pt x="47" y="43"/>
                      </a:cubicBezTo>
                      <a:cubicBezTo>
                        <a:pt x="1" y="87"/>
                        <a:pt x="0" y="159"/>
                        <a:pt x="47" y="203"/>
                      </a:cubicBezTo>
                      <a:cubicBezTo>
                        <a:pt x="70" y="226"/>
                        <a:pt x="98" y="236"/>
                        <a:pt x="129" y="236"/>
                      </a:cubicBezTo>
                      <a:cubicBezTo>
                        <a:pt x="150" y="236"/>
                        <a:pt x="170" y="231"/>
                        <a:pt x="189" y="220"/>
                      </a:cubicBezTo>
                      <a:cubicBezTo>
                        <a:pt x="257" y="181"/>
                        <a:pt x="265" y="88"/>
                        <a:pt x="204" y="38"/>
                      </a:cubicBezTo>
                      <a:close/>
                      <a:moveTo>
                        <a:pt x="130" y="202"/>
                      </a:moveTo>
                      <a:cubicBezTo>
                        <a:pt x="86" y="202"/>
                        <a:pt x="51" y="167"/>
                        <a:pt x="51" y="123"/>
                      </a:cubicBezTo>
                      <a:cubicBezTo>
                        <a:pt x="51" y="79"/>
                        <a:pt x="86" y="44"/>
                        <a:pt x="130" y="44"/>
                      </a:cubicBezTo>
                      <a:cubicBezTo>
                        <a:pt x="174" y="44"/>
                        <a:pt x="209" y="79"/>
                        <a:pt x="209" y="123"/>
                      </a:cubicBezTo>
                      <a:cubicBezTo>
                        <a:pt x="209" y="167"/>
                        <a:pt x="174" y="202"/>
                        <a:pt x="130" y="202"/>
                      </a:cubicBezTo>
                      <a:close/>
                    </a:path>
                  </a:pathLst>
                </a:custGeom>
                <a:solidFill>
                  <a:srgbClr val="FA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12" name="Freeform 47"/>
                <p:cNvSpPr>
                  <a:spLocks/>
                </p:cNvSpPr>
                <p:nvPr/>
              </p:nvSpPr>
              <p:spPr bwMode="auto">
                <a:xfrm>
                  <a:off x="5587334" y="5841638"/>
                  <a:ext cx="179857" cy="171041"/>
                </a:xfrm>
                <a:custGeom>
                  <a:avLst/>
                  <a:gdLst>
                    <a:gd name="T0" fmla="*/ 72 w 107"/>
                    <a:gd name="T1" fmla="*/ 4 h 102"/>
                    <a:gd name="T2" fmla="*/ 64 w 107"/>
                    <a:gd name="T3" fmla="*/ 3 h 102"/>
                    <a:gd name="T4" fmla="*/ 10 w 107"/>
                    <a:gd name="T5" fmla="*/ 55 h 102"/>
                    <a:gd name="T6" fmla="*/ 13 w 107"/>
                    <a:gd name="T7" fmla="*/ 92 h 102"/>
                    <a:gd name="T8" fmla="*/ 49 w 107"/>
                    <a:gd name="T9" fmla="*/ 92 h 102"/>
                    <a:gd name="T10" fmla="*/ 107 w 107"/>
                    <a:gd name="T11" fmla="*/ 38 h 102"/>
                    <a:gd name="T12" fmla="*/ 72 w 107"/>
                    <a:gd name="T13" fmla="*/ 4 h 102"/>
                  </a:gdLst>
                  <a:ahLst/>
                  <a:cxnLst>
                    <a:cxn ang="0">
                      <a:pos x="T0" y="T1"/>
                    </a:cxn>
                    <a:cxn ang="0">
                      <a:pos x="T2" y="T3"/>
                    </a:cxn>
                    <a:cxn ang="0">
                      <a:pos x="T4" y="T5"/>
                    </a:cxn>
                    <a:cxn ang="0">
                      <a:pos x="T6" y="T7"/>
                    </a:cxn>
                    <a:cxn ang="0">
                      <a:pos x="T8" y="T9"/>
                    </a:cxn>
                    <a:cxn ang="0">
                      <a:pos x="T10" y="T11"/>
                    </a:cxn>
                    <a:cxn ang="0">
                      <a:pos x="T12" y="T13"/>
                    </a:cxn>
                  </a:cxnLst>
                  <a:rect l="0" t="0" r="r" b="b"/>
                  <a:pathLst>
                    <a:path w="107" h="102">
                      <a:moveTo>
                        <a:pt x="72" y="4"/>
                      </a:moveTo>
                      <a:cubicBezTo>
                        <a:pt x="70" y="0"/>
                        <a:pt x="67" y="0"/>
                        <a:pt x="64" y="3"/>
                      </a:cubicBezTo>
                      <a:cubicBezTo>
                        <a:pt x="46" y="21"/>
                        <a:pt x="27" y="37"/>
                        <a:pt x="10" y="55"/>
                      </a:cubicBezTo>
                      <a:cubicBezTo>
                        <a:pt x="0" y="66"/>
                        <a:pt x="2" y="83"/>
                        <a:pt x="13" y="92"/>
                      </a:cubicBezTo>
                      <a:cubicBezTo>
                        <a:pt x="23" y="101"/>
                        <a:pt x="39" y="102"/>
                        <a:pt x="49" y="92"/>
                      </a:cubicBezTo>
                      <a:cubicBezTo>
                        <a:pt x="68" y="75"/>
                        <a:pt x="87" y="57"/>
                        <a:pt x="107" y="38"/>
                      </a:cubicBezTo>
                      <a:cubicBezTo>
                        <a:pt x="93" y="28"/>
                        <a:pt x="81" y="18"/>
                        <a:pt x="72" y="4"/>
                      </a:cubicBezTo>
                      <a:close/>
                    </a:path>
                  </a:pathLst>
                </a:custGeom>
                <a:solidFill>
                  <a:srgbClr val="FA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13" name="Oval 48"/>
                <p:cNvSpPr>
                  <a:spLocks noChangeArrowheads="1"/>
                </p:cNvSpPr>
                <p:nvPr/>
              </p:nvSpPr>
              <p:spPr bwMode="auto">
                <a:xfrm>
                  <a:off x="5756611" y="5596538"/>
                  <a:ext cx="266259" cy="26626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grpSp>
            <p:nvGrpSpPr>
              <p:cNvPr id="175" name="Group 174"/>
              <p:cNvGrpSpPr/>
              <p:nvPr/>
            </p:nvGrpSpPr>
            <p:grpSpPr>
              <a:xfrm rot="3600000">
                <a:off x="10972033" y="3318014"/>
                <a:ext cx="370344" cy="228378"/>
                <a:chOff x="2813051" y="1889126"/>
                <a:chExt cx="285750" cy="176212"/>
              </a:xfrm>
            </p:grpSpPr>
            <p:sp>
              <p:nvSpPr>
                <p:cNvPr id="176" name="Freeform 164"/>
                <p:cNvSpPr>
                  <a:spLocks/>
                </p:cNvSpPr>
                <p:nvPr/>
              </p:nvSpPr>
              <p:spPr bwMode="auto">
                <a:xfrm>
                  <a:off x="2938463" y="2027238"/>
                  <a:ext cx="36513" cy="38100"/>
                </a:xfrm>
                <a:custGeom>
                  <a:avLst/>
                  <a:gdLst>
                    <a:gd name="T0" fmla="*/ 8 w 10"/>
                    <a:gd name="T1" fmla="*/ 8 h 10"/>
                    <a:gd name="T2" fmla="*/ 8 w 10"/>
                    <a:gd name="T3" fmla="*/ 2 h 10"/>
                    <a:gd name="T4" fmla="*/ 2 w 10"/>
                    <a:gd name="T5" fmla="*/ 2 h 10"/>
                    <a:gd name="T6" fmla="*/ 2 w 10"/>
                    <a:gd name="T7" fmla="*/ 8 h 10"/>
                    <a:gd name="T8" fmla="*/ 8 w 10"/>
                    <a:gd name="T9" fmla="*/ 8 h 10"/>
                  </a:gdLst>
                  <a:ahLst/>
                  <a:cxnLst>
                    <a:cxn ang="0">
                      <a:pos x="T0" y="T1"/>
                    </a:cxn>
                    <a:cxn ang="0">
                      <a:pos x="T2" y="T3"/>
                    </a:cxn>
                    <a:cxn ang="0">
                      <a:pos x="T4" y="T5"/>
                    </a:cxn>
                    <a:cxn ang="0">
                      <a:pos x="T6" y="T7"/>
                    </a:cxn>
                    <a:cxn ang="0">
                      <a:pos x="T8" y="T9"/>
                    </a:cxn>
                  </a:cxnLst>
                  <a:rect l="0" t="0" r="r" b="b"/>
                  <a:pathLst>
                    <a:path w="10" h="10">
                      <a:moveTo>
                        <a:pt x="8" y="8"/>
                      </a:moveTo>
                      <a:cubicBezTo>
                        <a:pt x="10" y="7"/>
                        <a:pt x="10" y="3"/>
                        <a:pt x="8" y="2"/>
                      </a:cubicBezTo>
                      <a:cubicBezTo>
                        <a:pt x="7" y="0"/>
                        <a:pt x="3" y="0"/>
                        <a:pt x="2" y="2"/>
                      </a:cubicBezTo>
                      <a:cubicBezTo>
                        <a:pt x="0" y="3"/>
                        <a:pt x="0" y="7"/>
                        <a:pt x="2" y="8"/>
                      </a:cubicBezTo>
                      <a:cubicBezTo>
                        <a:pt x="3" y="10"/>
                        <a:pt x="7" y="10"/>
                        <a:pt x="8" y="8"/>
                      </a:cubicBezTo>
                      <a:close/>
                    </a:path>
                  </a:pathLst>
                </a:custGeom>
                <a:solidFill>
                  <a:srgbClr val="FFFFFF"/>
                </a:solidFill>
                <a:ln w="11113" cap="rnd">
                  <a:no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7" name="Freeform 191"/>
                <p:cNvSpPr>
                  <a:spLocks/>
                </p:cNvSpPr>
                <p:nvPr/>
              </p:nvSpPr>
              <p:spPr bwMode="auto">
                <a:xfrm>
                  <a:off x="2813051" y="1889126"/>
                  <a:ext cx="285750" cy="77788"/>
                </a:xfrm>
                <a:custGeom>
                  <a:avLst/>
                  <a:gdLst>
                    <a:gd name="T0" fmla="*/ 76 w 76"/>
                    <a:gd name="T1" fmla="*/ 21 h 21"/>
                    <a:gd name="T2" fmla="*/ 38 w 76"/>
                    <a:gd name="T3" fmla="*/ 0 h 21"/>
                    <a:gd name="T4" fmla="*/ 0 w 76"/>
                    <a:gd name="T5" fmla="*/ 21 h 21"/>
                  </a:gdLst>
                  <a:ahLst/>
                  <a:cxnLst>
                    <a:cxn ang="0">
                      <a:pos x="T0" y="T1"/>
                    </a:cxn>
                    <a:cxn ang="0">
                      <a:pos x="T2" y="T3"/>
                    </a:cxn>
                    <a:cxn ang="0">
                      <a:pos x="T4" y="T5"/>
                    </a:cxn>
                  </a:cxnLst>
                  <a:rect l="0" t="0" r="r" b="b"/>
                  <a:pathLst>
                    <a:path w="76" h="21">
                      <a:moveTo>
                        <a:pt x="76" y="21"/>
                      </a:moveTo>
                      <a:cubicBezTo>
                        <a:pt x="68" y="8"/>
                        <a:pt x="54" y="0"/>
                        <a:pt x="38" y="0"/>
                      </a:cubicBezTo>
                      <a:cubicBezTo>
                        <a:pt x="22" y="0"/>
                        <a:pt x="8" y="8"/>
                        <a:pt x="0" y="21"/>
                      </a:cubicBezTo>
                    </a:path>
                  </a:pathLst>
                </a:custGeom>
                <a:noFill/>
                <a:ln w="11113"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8" name="Freeform 192"/>
                <p:cNvSpPr>
                  <a:spLocks/>
                </p:cNvSpPr>
                <p:nvPr/>
              </p:nvSpPr>
              <p:spPr bwMode="auto">
                <a:xfrm>
                  <a:off x="2813051" y="1889126"/>
                  <a:ext cx="285750" cy="77788"/>
                </a:xfrm>
                <a:custGeom>
                  <a:avLst/>
                  <a:gdLst>
                    <a:gd name="T0" fmla="*/ 76 w 76"/>
                    <a:gd name="T1" fmla="*/ 21 h 21"/>
                    <a:gd name="T2" fmla="*/ 38 w 76"/>
                    <a:gd name="T3" fmla="*/ 0 h 21"/>
                    <a:gd name="T4" fmla="*/ 0 w 76"/>
                    <a:gd name="T5" fmla="*/ 21 h 21"/>
                  </a:gdLst>
                  <a:ahLst/>
                  <a:cxnLst>
                    <a:cxn ang="0">
                      <a:pos x="T0" y="T1"/>
                    </a:cxn>
                    <a:cxn ang="0">
                      <a:pos x="T2" y="T3"/>
                    </a:cxn>
                    <a:cxn ang="0">
                      <a:pos x="T4" y="T5"/>
                    </a:cxn>
                  </a:cxnLst>
                  <a:rect l="0" t="0" r="r" b="b"/>
                  <a:pathLst>
                    <a:path w="76" h="21">
                      <a:moveTo>
                        <a:pt x="76" y="21"/>
                      </a:moveTo>
                      <a:cubicBezTo>
                        <a:pt x="68" y="8"/>
                        <a:pt x="54" y="0"/>
                        <a:pt x="38" y="0"/>
                      </a:cubicBezTo>
                      <a:cubicBezTo>
                        <a:pt x="22" y="0"/>
                        <a:pt x="8" y="8"/>
                        <a:pt x="0" y="21"/>
                      </a:cubicBezTo>
                    </a:path>
                  </a:pathLst>
                </a:custGeom>
                <a:noFill/>
                <a:ln w="19050"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79" name="Freeform 193"/>
                <p:cNvSpPr>
                  <a:spLocks/>
                </p:cNvSpPr>
                <p:nvPr/>
              </p:nvSpPr>
              <p:spPr bwMode="auto">
                <a:xfrm>
                  <a:off x="2881131" y="1955922"/>
                  <a:ext cx="150813" cy="41275"/>
                </a:xfrm>
                <a:custGeom>
                  <a:avLst/>
                  <a:gdLst>
                    <a:gd name="T0" fmla="*/ 40 w 40"/>
                    <a:gd name="T1" fmla="*/ 11 h 11"/>
                    <a:gd name="T2" fmla="*/ 20 w 40"/>
                    <a:gd name="T3" fmla="*/ 0 h 11"/>
                    <a:gd name="T4" fmla="*/ 0 w 40"/>
                    <a:gd name="T5" fmla="*/ 11 h 11"/>
                  </a:gdLst>
                  <a:ahLst/>
                  <a:cxnLst>
                    <a:cxn ang="0">
                      <a:pos x="T0" y="T1"/>
                    </a:cxn>
                    <a:cxn ang="0">
                      <a:pos x="T2" y="T3"/>
                    </a:cxn>
                    <a:cxn ang="0">
                      <a:pos x="T4" y="T5"/>
                    </a:cxn>
                  </a:cxnLst>
                  <a:rect l="0" t="0" r="r" b="b"/>
                  <a:pathLst>
                    <a:path w="40" h="11">
                      <a:moveTo>
                        <a:pt x="40" y="11"/>
                      </a:moveTo>
                      <a:cubicBezTo>
                        <a:pt x="36" y="4"/>
                        <a:pt x="28" y="0"/>
                        <a:pt x="20" y="0"/>
                      </a:cubicBezTo>
                      <a:cubicBezTo>
                        <a:pt x="12" y="0"/>
                        <a:pt x="4" y="4"/>
                        <a:pt x="0" y="11"/>
                      </a:cubicBezTo>
                    </a:path>
                  </a:pathLst>
                </a:custGeom>
                <a:noFill/>
                <a:ln w="19050"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grpSp>
        <p:nvGrpSpPr>
          <p:cNvPr id="174" name="Group 173"/>
          <p:cNvGrpSpPr/>
          <p:nvPr/>
        </p:nvGrpSpPr>
        <p:grpSpPr>
          <a:xfrm>
            <a:off x="5420715" y="2704730"/>
            <a:ext cx="1600200" cy="1600200"/>
            <a:chOff x="5435583" y="2704730"/>
            <a:chExt cx="1600200" cy="1600200"/>
          </a:xfrm>
        </p:grpSpPr>
        <p:sp>
          <p:nvSpPr>
            <p:cNvPr id="65" name="Rectangle 64"/>
            <p:cNvSpPr/>
            <p:nvPr/>
          </p:nvSpPr>
          <p:spPr>
            <a:xfrm>
              <a:off x="5435583"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73" name="Group 172"/>
            <p:cNvGrpSpPr/>
            <p:nvPr/>
          </p:nvGrpSpPr>
          <p:grpSpPr>
            <a:xfrm>
              <a:off x="5663951" y="2976930"/>
              <a:ext cx="1143464" cy="1055801"/>
              <a:chOff x="5663951" y="2976930"/>
              <a:chExt cx="1143464" cy="1055801"/>
            </a:xfrm>
          </p:grpSpPr>
          <p:grpSp>
            <p:nvGrpSpPr>
              <p:cNvPr id="102" name="Group 101"/>
              <p:cNvGrpSpPr/>
              <p:nvPr/>
            </p:nvGrpSpPr>
            <p:grpSpPr>
              <a:xfrm>
                <a:off x="5663951" y="2976930"/>
                <a:ext cx="1143464" cy="1055801"/>
                <a:chOff x="5587334" y="5524242"/>
                <a:chExt cx="528992" cy="488437"/>
              </a:xfrm>
            </p:grpSpPr>
            <p:sp>
              <p:nvSpPr>
                <p:cNvPr id="103" name="Freeform 46"/>
                <p:cNvSpPr>
                  <a:spLocks noEditPoints="1"/>
                </p:cNvSpPr>
                <p:nvPr/>
              </p:nvSpPr>
              <p:spPr bwMode="auto">
                <a:xfrm>
                  <a:off x="5671973" y="5524242"/>
                  <a:ext cx="444353" cy="394982"/>
                </a:xfrm>
                <a:custGeom>
                  <a:avLst/>
                  <a:gdLst>
                    <a:gd name="T0" fmla="*/ 204 w 265"/>
                    <a:gd name="T1" fmla="*/ 38 h 236"/>
                    <a:gd name="T2" fmla="*/ 47 w 265"/>
                    <a:gd name="T3" fmla="*/ 43 h 236"/>
                    <a:gd name="T4" fmla="*/ 47 w 265"/>
                    <a:gd name="T5" fmla="*/ 203 h 236"/>
                    <a:gd name="T6" fmla="*/ 129 w 265"/>
                    <a:gd name="T7" fmla="*/ 236 h 236"/>
                    <a:gd name="T8" fmla="*/ 189 w 265"/>
                    <a:gd name="T9" fmla="*/ 220 h 236"/>
                    <a:gd name="T10" fmla="*/ 204 w 265"/>
                    <a:gd name="T11" fmla="*/ 38 h 236"/>
                    <a:gd name="T12" fmla="*/ 130 w 265"/>
                    <a:gd name="T13" fmla="*/ 202 h 236"/>
                    <a:gd name="T14" fmla="*/ 51 w 265"/>
                    <a:gd name="T15" fmla="*/ 123 h 236"/>
                    <a:gd name="T16" fmla="*/ 130 w 265"/>
                    <a:gd name="T17" fmla="*/ 44 h 236"/>
                    <a:gd name="T18" fmla="*/ 209 w 265"/>
                    <a:gd name="T19" fmla="*/ 123 h 236"/>
                    <a:gd name="T20" fmla="*/ 130 w 265"/>
                    <a:gd name="T21" fmla="*/ 20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5" h="236">
                      <a:moveTo>
                        <a:pt x="204" y="38"/>
                      </a:moveTo>
                      <a:cubicBezTo>
                        <a:pt x="158" y="0"/>
                        <a:pt x="90" y="3"/>
                        <a:pt x="47" y="43"/>
                      </a:cubicBezTo>
                      <a:cubicBezTo>
                        <a:pt x="1" y="87"/>
                        <a:pt x="0" y="159"/>
                        <a:pt x="47" y="203"/>
                      </a:cubicBezTo>
                      <a:cubicBezTo>
                        <a:pt x="70" y="226"/>
                        <a:pt x="98" y="236"/>
                        <a:pt x="129" y="236"/>
                      </a:cubicBezTo>
                      <a:cubicBezTo>
                        <a:pt x="150" y="236"/>
                        <a:pt x="170" y="231"/>
                        <a:pt x="189" y="220"/>
                      </a:cubicBezTo>
                      <a:cubicBezTo>
                        <a:pt x="257" y="181"/>
                        <a:pt x="265" y="88"/>
                        <a:pt x="204" y="38"/>
                      </a:cubicBezTo>
                      <a:close/>
                      <a:moveTo>
                        <a:pt x="130" y="202"/>
                      </a:moveTo>
                      <a:cubicBezTo>
                        <a:pt x="86" y="202"/>
                        <a:pt x="51" y="167"/>
                        <a:pt x="51" y="123"/>
                      </a:cubicBezTo>
                      <a:cubicBezTo>
                        <a:pt x="51" y="79"/>
                        <a:pt x="86" y="44"/>
                        <a:pt x="130" y="44"/>
                      </a:cubicBezTo>
                      <a:cubicBezTo>
                        <a:pt x="174" y="44"/>
                        <a:pt x="209" y="79"/>
                        <a:pt x="209" y="123"/>
                      </a:cubicBezTo>
                      <a:cubicBezTo>
                        <a:pt x="209" y="167"/>
                        <a:pt x="174" y="202"/>
                        <a:pt x="130" y="202"/>
                      </a:cubicBezTo>
                      <a:close/>
                    </a:path>
                  </a:pathLst>
                </a:custGeom>
                <a:solidFill>
                  <a:srgbClr val="FA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4" name="Freeform 47"/>
                <p:cNvSpPr>
                  <a:spLocks/>
                </p:cNvSpPr>
                <p:nvPr/>
              </p:nvSpPr>
              <p:spPr bwMode="auto">
                <a:xfrm>
                  <a:off x="5587334" y="5841638"/>
                  <a:ext cx="179857" cy="171041"/>
                </a:xfrm>
                <a:custGeom>
                  <a:avLst/>
                  <a:gdLst>
                    <a:gd name="T0" fmla="*/ 72 w 107"/>
                    <a:gd name="T1" fmla="*/ 4 h 102"/>
                    <a:gd name="T2" fmla="*/ 64 w 107"/>
                    <a:gd name="T3" fmla="*/ 3 h 102"/>
                    <a:gd name="T4" fmla="*/ 10 w 107"/>
                    <a:gd name="T5" fmla="*/ 55 h 102"/>
                    <a:gd name="T6" fmla="*/ 13 w 107"/>
                    <a:gd name="T7" fmla="*/ 92 h 102"/>
                    <a:gd name="T8" fmla="*/ 49 w 107"/>
                    <a:gd name="T9" fmla="*/ 92 h 102"/>
                    <a:gd name="T10" fmla="*/ 107 w 107"/>
                    <a:gd name="T11" fmla="*/ 38 h 102"/>
                    <a:gd name="T12" fmla="*/ 72 w 107"/>
                    <a:gd name="T13" fmla="*/ 4 h 102"/>
                  </a:gdLst>
                  <a:ahLst/>
                  <a:cxnLst>
                    <a:cxn ang="0">
                      <a:pos x="T0" y="T1"/>
                    </a:cxn>
                    <a:cxn ang="0">
                      <a:pos x="T2" y="T3"/>
                    </a:cxn>
                    <a:cxn ang="0">
                      <a:pos x="T4" y="T5"/>
                    </a:cxn>
                    <a:cxn ang="0">
                      <a:pos x="T6" y="T7"/>
                    </a:cxn>
                    <a:cxn ang="0">
                      <a:pos x="T8" y="T9"/>
                    </a:cxn>
                    <a:cxn ang="0">
                      <a:pos x="T10" y="T11"/>
                    </a:cxn>
                    <a:cxn ang="0">
                      <a:pos x="T12" y="T13"/>
                    </a:cxn>
                  </a:cxnLst>
                  <a:rect l="0" t="0" r="r" b="b"/>
                  <a:pathLst>
                    <a:path w="107" h="102">
                      <a:moveTo>
                        <a:pt x="72" y="4"/>
                      </a:moveTo>
                      <a:cubicBezTo>
                        <a:pt x="70" y="0"/>
                        <a:pt x="67" y="0"/>
                        <a:pt x="64" y="3"/>
                      </a:cubicBezTo>
                      <a:cubicBezTo>
                        <a:pt x="46" y="21"/>
                        <a:pt x="27" y="37"/>
                        <a:pt x="10" y="55"/>
                      </a:cubicBezTo>
                      <a:cubicBezTo>
                        <a:pt x="0" y="66"/>
                        <a:pt x="2" y="83"/>
                        <a:pt x="13" y="92"/>
                      </a:cubicBezTo>
                      <a:cubicBezTo>
                        <a:pt x="23" y="101"/>
                        <a:pt x="39" y="102"/>
                        <a:pt x="49" y="92"/>
                      </a:cubicBezTo>
                      <a:cubicBezTo>
                        <a:pt x="68" y="75"/>
                        <a:pt x="87" y="57"/>
                        <a:pt x="107" y="38"/>
                      </a:cubicBezTo>
                      <a:cubicBezTo>
                        <a:pt x="93" y="28"/>
                        <a:pt x="81" y="18"/>
                        <a:pt x="72" y="4"/>
                      </a:cubicBezTo>
                      <a:close/>
                    </a:path>
                  </a:pathLst>
                </a:custGeom>
                <a:solidFill>
                  <a:srgbClr val="FA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05" name="Oval 48"/>
                <p:cNvSpPr>
                  <a:spLocks noChangeArrowheads="1"/>
                </p:cNvSpPr>
                <p:nvPr/>
              </p:nvSpPr>
              <p:spPr bwMode="auto">
                <a:xfrm>
                  <a:off x="5756611" y="5596538"/>
                  <a:ext cx="266259" cy="26626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grpSp>
            <p:nvGrpSpPr>
              <p:cNvPr id="171" name="Group 170"/>
              <p:cNvGrpSpPr/>
              <p:nvPr/>
            </p:nvGrpSpPr>
            <p:grpSpPr>
              <a:xfrm>
                <a:off x="6131283" y="3227584"/>
                <a:ext cx="391754" cy="391754"/>
                <a:chOff x="7391912" y="2003937"/>
                <a:chExt cx="592547" cy="592547"/>
              </a:xfrm>
            </p:grpSpPr>
            <p:sp>
              <p:nvSpPr>
                <p:cNvPr id="169" name="Freeform 168"/>
                <p:cNvSpPr/>
                <p:nvPr/>
              </p:nvSpPr>
              <p:spPr>
                <a:xfrm>
                  <a:off x="7675954" y="2003937"/>
                  <a:ext cx="24463" cy="167091"/>
                </a:xfrm>
                <a:custGeom>
                  <a:avLst/>
                  <a:gdLst>
                    <a:gd name="connsiteX0" fmla="*/ 0 w 24463"/>
                    <a:gd name="connsiteY0" fmla="*/ 0 h 167091"/>
                    <a:gd name="connsiteX1" fmla="*/ 24463 w 24463"/>
                    <a:gd name="connsiteY1" fmla="*/ 0 h 167091"/>
                    <a:gd name="connsiteX2" fmla="*/ 24463 w 24463"/>
                    <a:gd name="connsiteY2" fmla="*/ 167091 h 167091"/>
                    <a:gd name="connsiteX3" fmla="*/ 12231 w 24463"/>
                    <a:gd name="connsiteY3" fmla="*/ 164621 h 167091"/>
                    <a:gd name="connsiteX4" fmla="*/ 0 w 24463"/>
                    <a:gd name="connsiteY4" fmla="*/ 167090 h 167091"/>
                    <a:gd name="connsiteX5" fmla="*/ 0 w 24463"/>
                    <a:gd name="connsiteY5" fmla="*/ 0 h 167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63" h="167091">
                      <a:moveTo>
                        <a:pt x="0" y="0"/>
                      </a:moveTo>
                      <a:lnTo>
                        <a:pt x="24463" y="0"/>
                      </a:lnTo>
                      <a:lnTo>
                        <a:pt x="24463" y="167091"/>
                      </a:lnTo>
                      <a:lnTo>
                        <a:pt x="12231" y="164621"/>
                      </a:lnTo>
                      <a:lnTo>
                        <a:pt x="0" y="16709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6" name="Freeform 165"/>
                <p:cNvSpPr/>
                <p:nvPr/>
              </p:nvSpPr>
              <p:spPr>
                <a:xfrm>
                  <a:off x="7391912" y="2287979"/>
                  <a:ext cx="167091" cy="24463"/>
                </a:xfrm>
                <a:custGeom>
                  <a:avLst/>
                  <a:gdLst>
                    <a:gd name="connsiteX0" fmla="*/ 0 w 167091"/>
                    <a:gd name="connsiteY0" fmla="*/ 0 h 24463"/>
                    <a:gd name="connsiteX1" fmla="*/ 167091 w 167091"/>
                    <a:gd name="connsiteY1" fmla="*/ 0 h 24463"/>
                    <a:gd name="connsiteX2" fmla="*/ 164621 w 167091"/>
                    <a:gd name="connsiteY2" fmla="*/ 12231 h 24463"/>
                    <a:gd name="connsiteX3" fmla="*/ 167091 w 167091"/>
                    <a:gd name="connsiteY3" fmla="*/ 24463 h 24463"/>
                    <a:gd name="connsiteX4" fmla="*/ 0 w 167091"/>
                    <a:gd name="connsiteY4" fmla="*/ 24463 h 24463"/>
                    <a:gd name="connsiteX5" fmla="*/ 0 w 167091"/>
                    <a:gd name="connsiteY5" fmla="*/ 0 h 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1" h="24463">
                      <a:moveTo>
                        <a:pt x="0" y="0"/>
                      </a:moveTo>
                      <a:lnTo>
                        <a:pt x="167091" y="0"/>
                      </a:lnTo>
                      <a:lnTo>
                        <a:pt x="164621" y="12231"/>
                      </a:lnTo>
                      <a:lnTo>
                        <a:pt x="167091" y="24463"/>
                      </a:lnTo>
                      <a:lnTo>
                        <a:pt x="0" y="2446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5" name="Freeform 164"/>
                <p:cNvSpPr/>
                <p:nvPr/>
              </p:nvSpPr>
              <p:spPr>
                <a:xfrm>
                  <a:off x="7817368" y="2287979"/>
                  <a:ext cx="167091" cy="24463"/>
                </a:xfrm>
                <a:custGeom>
                  <a:avLst/>
                  <a:gdLst>
                    <a:gd name="connsiteX0" fmla="*/ 0 w 167091"/>
                    <a:gd name="connsiteY0" fmla="*/ 0 h 24463"/>
                    <a:gd name="connsiteX1" fmla="*/ 167091 w 167091"/>
                    <a:gd name="connsiteY1" fmla="*/ 0 h 24463"/>
                    <a:gd name="connsiteX2" fmla="*/ 167091 w 167091"/>
                    <a:gd name="connsiteY2" fmla="*/ 24463 h 24463"/>
                    <a:gd name="connsiteX3" fmla="*/ 0 w 167091"/>
                    <a:gd name="connsiteY3" fmla="*/ 24463 h 24463"/>
                    <a:gd name="connsiteX4" fmla="*/ 2469 w 167091"/>
                    <a:gd name="connsiteY4" fmla="*/ 12231 h 24463"/>
                    <a:gd name="connsiteX5" fmla="*/ 0 w 167091"/>
                    <a:gd name="connsiteY5" fmla="*/ 0 h 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1" h="24463">
                      <a:moveTo>
                        <a:pt x="0" y="0"/>
                      </a:moveTo>
                      <a:lnTo>
                        <a:pt x="167091" y="0"/>
                      </a:lnTo>
                      <a:lnTo>
                        <a:pt x="167091" y="24463"/>
                      </a:lnTo>
                      <a:lnTo>
                        <a:pt x="0" y="24463"/>
                      </a:lnTo>
                      <a:lnTo>
                        <a:pt x="2469" y="12231"/>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2" name="Freeform 161"/>
                <p:cNvSpPr/>
                <p:nvPr/>
              </p:nvSpPr>
              <p:spPr>
                <a:xfrm>
                  <a:off x="7675954" y="2429393"/>
                  <a:ext cx="24463" cy="167091"/>
                </a:xfrm>
                <a:custGeom>
                  <a:avLst/>
                  <a:gdLst>
                    <a:gd name="connsiteX0" fmla="*/ 24463 w 24463"/>
                    <a:gd name="connsiteY0" fmla="*/ 0 h 167091"/>
                    <a:gd name="connsiteX1" fmla="*/ 24463 w 24463"/>
                    <a:gd name="connsiteY1" fmla="*/ 167091 h 167091"/>
                    <a:gd name="connsiteX2" fmla="*/ 0 w 24463"/>
                    <a:gd name="connsiteY2" fmla="*/ 167091 h 167091"/>
                    <a:gd name="connsiteX3" fmla="*/ 0 w 24463"/>
                    <a:gd name="connsiteY3" fmla="*/ 0 h 167091"/>
                    <a:gd name="connsiteX4" fmla="*/ 12231 w 24463"/>
                    <a:gd name="connsiteY4" fmla="*/ 2469 h 167091"/>
                    <a:gd name="connsiteX5" fmla="*/ 24463 w 24463"/>
                    <a:gd name="connsiteY5" fmla="*/ 0 h 167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63" h="167091">
                      <a:moveTo>
                        <a:pt x="24463" y="0"/>
                      </a:moveTo>
                      <a:lnTo>
                        <a:pt x="24463" y="167091"/>
                      </a:lnTo>
                      <a:lnTo>
                        <a:pt x="0" y="167091"/>
                      </a:lnTo>
                      <a:lnTo>
                        <a:pt x="0" y="0"/>
                      </a:lnTo>
                      <a:lnTo>
                        <a:pt x="12231" y="2469"/>
                      </a:lnTo>
                      <a:lnTo>
                        <a:pt x="2446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grpSp>
        <p:nvGrpSpPr>
          <p:cNvPr id="159" name="Group 158"/>
          <p:cNvGrpSpPr/>
          <p:nvPr/>
        </p:nvGrpSpPr>
        <p:grpSpPr>
          <a:xfrm>
            <a:off x="3003157" y="2704730"/>
            <a:ext cx="1600200" cy="1600200"/>
            <a:chOff x="3018025" y="2704730"/>
            <a:chExt cx="1600200" cy="1600200"/>
          </a:xfrm>
        </p:grpSpPr>
        <p:sp>
          <p:nvSpPr>
            <p:cNvPr id="58" name="Rectangle 57"/>
            <p:cNvSpPr/>
            <p:nvPr/>
          </p:nvSpPr>
          <p:spPr>
            <a:xfrm>
              <a:off x="3018025"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58" name="Group 157"/>
            <p:cNvGrpSpPr/>
            <p:nvPr/>
          </p:nvGrpSpPr>
          <p:grpSpPr>
            <a:xfrm>
              <a:off x="3246393" y="2976930"/>
              <a:ext cx="1143464" cy="1055801"/>
              <a:chOff x="3246393" y="2976930"/>
              <a:chExt cx="1143464" cy="1055801"/>
            </a:xfrm>
          </p:grpSpPr>
          <p:grpSp>
            <p:nvGrpSpPr>
              <p:cNvPr id="97" name="Group 96"/>
              <p:cNvGrpSpPr/>
              <p:nvPr/>
            </p:nvGrpSpPr>
            <p:grpSpPr>
              <a:xfrm>
                <a:off x="3246393" y="2976930"/>
                <a:ext cx="1143464" cy="1055801"/>
                <a:chOff x="5587334" y="5524242"/>
                <a:chExt cx="528992" cy="488437"/>
              </a:xfrm>
            </p:grpSpPr>
            <p:sp>
              <p:nvSpPr>
                <p:cNvPr id="98" name="Freeform 46"/>
                <p:cNvSpPr>
                  <a:spLocks noEditPoints="1"/>
                </p:cNvSpPr>
                <p:nvPr/>
              </p:nvSpPr>
              <p:spPr bwMode="auto">
                <a:xfrm>
                  <a:off x="5671973" y="5524242"/>
                  <a:ext cx="444353" cy="394982"/>
                </a:xfrm>
                <a:custGeom>
                  <a:avLst/>
                  <a:gdLst>
                    <a:gd name="T0" fmla="*/ 204 w 265"/>
                    <a:gd name="T1" fmla="*/ 38 h 236"/>
                    <a:gd name="T2" fmla="*/ 47 w 265"/>
                    <a:gd name="T3" fmla="*/ 43 h 236"/>
                    <a:gd name="T4" fmla="*/ 47 w 265"/>
                    <a:gd name="T5" fmla="*/ 203 h 236"/>
                    <a:gd name="T6" fmla="*/ 129 w 265"/>
                    <a:gd name="T7" fmla="*/ 236 h 236"/>
                    <a:gd name="T8" fmla="*/ 189 w 265"/>
                    <a:gd name="T9" fmla="*/ 220 h 236"/>
                    <a:gd name="T10" fmla="*/ 204 w 265"/>
                    <a:gd name="T11" fmla="*/ 38 h 236"/>
                    <a:gd name="T12" fmla="*/ 130 w 265"/>
                    <a:gd name="T13" fmla="*/ 202 h 236"/>
                    <a:gd name="T14" fmla="*/ 51 w 265"/>
                    <a:gd name="T15" fmla="*/ 123 h 236"/>
                    <a:gd name="T16" fmla="*/ 130 w 265"/>
                    <a:gd name="T17" fmla="*/ 44 h 236"/>
                    <a:gd name="T18" fmla="*/ 209 w 265"/>
                    <a:gd name="T19" fmla="*/ 123 h 236"/>
                    <a:gd name="T20" fmla="*/ 130 w 265"/>
                    <a:gd name="T21" fmla="*/ 20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5" h="236">
                      <a:moveTo>
                        <a:pt x="204" y="38"/>
                      </a:moveTo>
                      <a:cubicBezTo>
                        <a:pt x="158" y="0"/>
                        <a:pt x="90" y="3"/>
                        <a:pt x="47" y="43"/>
                      </a:cubicBezTo>
                      <a:cubicBezTo>
                        <a:pt x="1" y="87"/>
                        <a:pt x="0" y="159"/>
                        <a:pt x="47" y="203"/>
                      </a:cubicBezTo>
                      <a:cubicBezTo>
                        <a:pt x="70" y="226"/>
                        <a:pt x="98" y="236"/>
                        <a:pt x="129" y="236"/>
                      </a:cubicBezTo>
                      <a:cubicBezTo>
                        <a:pt x="150" y="236"/>
                        <a:pt x="170" y="231"/>
                        <a:pt x="189" y="220"/>
                      </a:cubicBezTo>
                      <a:cubicBezTo>
                        <a:pt x="257" y="181"/>
                        <a:pt x="265" y="88"/>
                        <a:pt x="204" y="38"/>
                      </a:cubicBezTo>
                      <a:close/>
                      <a:moveTo>
                        <a:pt x="130" y="202"/>
                      </a:moveTo>
                      <a:cubicBezTo>
                        <a:pt x="86" y="202"/>
                        <a:pt x="51" y="167"/>
                        <a:pt x="51" y="123"/>
                      </a:cubicBezTo>
                      <a:cubicBezTo>
                        <a:pt x="51" y="79"/>
                        <a:pt x="86" y="44"/>
                        <a:pt x="130" y="44"/>
                      </a:cubicBezTo>
                      <a:cubicBezTo>
                        <a:pt x="174" y="44"/>
                        <a:pt x="209" y="79"/>
                        <a:pt x="209" y="123"/>
                      </a:cubicBezTo>
                      <a:cubicBezTo>
                        <a:pt x="209" y="167"/>
                        <a:pt x="174" y="202"/>
                        <a:pt x="130" y="202"/>
                      </a:cubicBezTo>
                      <a:close/>
                    </a:path>
                  </a:pathLst>
                </a:custGeom>
                <a:solidFill>
                  <a:srgbClr val="FA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0" name="Freeform 47"/>
                <p:cNvSpPr>
                  <a:spLocks/>
                </p:cNvSpPr>
                <p:nvPr/>
              </p:nvSpPr>
              <p:spPr bwMode="auto">
                <a:xfrm>
                  <a:off x="5587334" y="5841638"/>
                  <a:ext cx="179857" cy="171041"/>
                </a:xfrm>
                <a:custGeom>
                  <a:avLst/>
                  <a:gdLst>
                    <a:gd name="T0" fmla="*/ 72 w 107"/>
                    <a:gd name="T1" fmla="*/ 4 h 102"/>
                    <a:gd name="T2" fmla="*/ 64 w 107"/>
                    <a:gd name="T3" fmla="*/ 3 h 102"/>
                    <a:gd name="T4" fmla="*/ 10 w 107"/>
                    <a:gd name="T5" fmla="*/ 55 h 102"/>
                    <a:gd name="T6" fmla="*/ 13 w 107"/>
                    <a:gd name="T7" fmla="*/ 92 h 102"/>
                    <a:gd name="T8" fmla="*/ 49 w 107"/>
                    <a:gd name="T9" fmla="*/ 92 h 102"/>
                    <a:gd name="T10" fmla="*/ 107 w 107"/>
                    <a:gd name="T11" fmla="*/ 38 h 102"/>
                    <a:gd name="T12" fmla="*/ 72 w 107"/>
                    <a:gd name="T13" fmla="*/ 4 h 102"/>
                  </a:gdLst>
                  <a:ahLst/>
                  <a:cxnLst>
                    <a:cxn ang="0">
                      <a:pos x="T0" y="T1"/>
                    </a:cxn>
                    <a:cxn ang="0">
                      <a:pos x="T2" y="T3"/>
                    </a:cxn>
                    <a:cxn ang="0">
                      <a:pos x="T4" y="T5"/>
                    </a:cxn>
                    <a:cxn ang="0">
                      <a:pos x="T6" y="T7"/>
                    </a:cxn>
                    <a:cxn ang="0">
                      <a:pos x="T8" y="T9"/>
                    </a:cxn>
                    <a:cxn ang="0">
                      <a:pos x="T10" y="T11"/>
                    </a:cxn>
                    <a:cxn ang="0">
                      <a:pos x="T12" y="T13"/>
                    </a:cxn>
                  </a:cxnLst>
                  <a:rect l="0" t="0" r="r" b="b"/>
                  <a:pathLst>
                    <a:path w="107" h="102">
                      <a:moveTo>
                        <a:pt x="72" y="4"/>
                      </a:moveTo>
                      <a:cubicBezTo>
                        <a:pt x="70" y="0"/>
                        <a:pt x="67" y="0"/>
                        <a:pt x="64" y="3"/>
                      </a:cubicBezTo>
                      <a:cubicBezTo>
                        <a:pt x="46" y="21"/>
                        <a:pt x="27" y="37"/>
                        <a:pt x="10" y="55"/>
                      </a:cubicBezTo>
                      <a:cubicBezTo>
                        <a:pt x="0" y="66"/>
                        <a:pt x="2" y="83"/>
                        <a:pt x="13" y="92"/>
                      </a:cubicBezTo>
                      <a:cubicBezTo>
                        <a:pt x="23" y="101"/>
                        <a:pt x="39" y="102"/>
                        <a:pt x="49" y="92"/>
                      </a:cubicBezTo>
                      <a:cubicBezTo>
                        <a:pt x="68" y="75"/>
                        <a:pt x="87" y="57"/>
                        <a:pt x="107" y="38"/>
                      </a:cubicBezTo>
                      <a:cubicBezTo>
                        <a:pt x="93" y="28"/>
                        <a:pt x="81" y="18"/>
                        <a:pt x="72" y="4"/>
                      </a:cubicBezTo>
                      <a:close/>
                    </a:path>
                  </a:pathLst>
                </a:custGeom>
                <a:solidFill>
                  <a:srgbClr val="FA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01" name="Oval 48"/>
                <p:cNvSpPr>
                  <a:spLocks noChangeArrowheads="1"/>
                </p:cNvSpPr>
                <p:nvPr/>
              </p:nvSpPr>
              <p:spPr bwMode="auto">
                <a:xfrm>
                  <a:off x="5756611" y="5596538"/>
                  <a:ext cx="266259" cy="26626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sp>
            <p:nvSpPr>
              <p:cNvPr id="153" name="Freeform 152"/>
              <p:cNvSpPr/>
              <p:nvPr/>
            </p:nvSpPr>
            <p:spPr>
              <a:xfrm>
                <a:off x="3729143" y="3442053"/>
                <a:ext cx="350019" cy="69338"/>
              </a:xfrm>
              <a:custGeom>
                <a:avLst/>
                <a:gdLst>
                  <a:gd name="connsiteX0" fmla="*/ 0 w 480641"/>
                  <a:gd name="connsiteY0" fmla="*/ 0 h 95214"/>
                  <a:gd name="connsiteX1" fmla="*/ 19663 w 480641"/>
                  <a:gd name="connsiteY1" fmla="*/ 0 h 95214"/>
                  <a:gd name="connsiteX2" fmla="*/ 19663 w 480641"/>
                  <a:gd name="connsiteY2" fmla="*/ 75551 h 95214"/>
                  <a:gd name="connsiteX3" fmla="*/ 460978 w 480641"/>
                  <a:gd name="connsiteY3" fmla="*/ 75551 h 95214"/>
                  <a:gd name="connsiteX4" fmla="*/ 460978 w 480641"/>
                  <a:gd name="connsiteY4" fmla="*/ 0 h 95214"/>
                  <a:gd name="connsiteX5" fmla="*/ 480641 w 480641"/>
                  <a:gd name="connsiteY5" fmla="*/ 0 h 95214"/>
                  <a:gd name="connsiteX6" fmla="*/ 480641 w 480641"/>
                  <a:gd name="connsiteY6" fmla="*/ 95214 h 95214"/>
                  <a:gd name="connsiteX7" fmla="*/ 0 w 480641"/>
                  <a:gd name="connsiteY7" fmla="*/ 95214 h 95214"/>
                  <a:gd name="connsiteX8" fmla="*/ 0 w 480641"/>
                  <a:gd name="connsiteY8" fmla="*/ 0 h 95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641" h="95214">
                    <a:moveTo>
                      <a:pt x="0" y="0"/>
                    </a:moveTo>
                    <a:lnTo>
                      <a:pt x="19663" y="0"/>
                    </a:lnTo>
                    <a:lnTo>
                      <a:pt x="19663" y="75551"/>
                    </a:lnTo>
                    <a:lnTo>
                      <a:pt x="460978" y="75551"/>
                    </a:lnTo>
                    <a:lnTo>
                      <a:pt x="460978" y="0"/>
                    </a:lnTo>
                    <a:lnTo>
                      <a:pt x="480641" y="0"/>
                    </a:lnTo>
                    <a:lnTo>
                      <a:pt x="480641" y="95214"/>
                    </a:lnTo>
                    <a:lnTo>
                      <a:pt x="0" y="95214"/>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143" name="Group 142"/>
          <p:cNvGrpSpPr/>
          <p:nvPr/>
        </p:nvGrpSpPr>
        <p:grpSpPr>
          <a:xfrm>
            <a:off x="585599" y="2704730"/>
            <a:ext cx="1600200" cy="1600200"/>
            <a:chOff x="600467" y="2704730"/>
            <a:chExt cx="1600200" cy="1600200"/>
          </a:xfrm>
        </p:grpSpPr>
        <p:sp>
          <p:nvSpPr>
            <p:cNvPr id="51" name="Rectangle 50"/>
            <p:cNvSpPr/>
            <p:nvPr/>
          </p:nvSpPr>
          <p:spPr>
            <a:xfrm>
              <a:off x="600467" y="2704730"/>
              <a:ext cx="16002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142" name="Group 141"/>
            <p:cNvGrpSpPr/>
            <p:nvPr/>
          </p:nvGrpSpPr>
          <p:grpSpPr>
            <a:xfrm>
              <a:off x="828835" y="2976930"/>
              <a:ext cx="1143464" cy="1055801"/>
              <a:chOff x="828835" y="2976930"/>
              <a:chExt cx="1143464" cy="1055801"/>
            </a:xfrm>
          </p:grpSpPr>
          <p:grpSp>
            <p:nvGrpSpPr>
              <p:cNvPr id="8" name="Group 7"/>
              <p:cNvGrpSpPr/>
              <p:nvPr/>
            </p:nvGrpSpPr>
            <p:grpSpPr>
              <a:xfrm>
                <a:off x="828835" y="2976930"/>
                <a:ext cx="1143464" cy="1055801"/>
                <a:chOff x="5587334" y="5524242"/>
                <a:chExt cx="528992" cy="488437"/>
              </a:xfrm>
            </p:grpSpPr>
            <p:sp>
              <p:nvSpPr>
                <p:cNvPr id="93" name="Freeform 46"/>
                <p:cNvSpPr>
                  <a:spLocks noEditPoints="1"/>
                </p:cNvSpPr>
                <p:nvPr/>
              </p:nvSpPr>
              <p:spPr bwMode="auto">
                <a:xfrm>
                  <a:off x="5671973" y="5524242"/>
                  <a:ext cx="444353" cy="394982"/>
                </a:xfrm>
                <a:custGeom>
                  <a:avLst/>
                  <a:gdLst>
                    <a:gd name="T0" fmla="*/ 204 w 265"/>
                    <a:gd name="T1" fmla="*/ 38 h 236"/>
                    <a:gd name="T2" fmla="*/ 47 w 265"/>
                    <a:gd name="T3" fmla="*/ 43 h 236"/>
                    <a:gd name="T4" fmla="*/ 47 w 265"/>
                    <a:gd name="T5" fmla="*/ 203 h 236"/>
                    <a:gd name="T6" fmla="*/ 129 w 265"/>
                    <a:gd name="T7" fmla="*/ 236 h 236"/>
                    <a:gd name="T8" fmla="*/ 189 w 265"/>
                    <a:gd name="T9" fmla="*/ 220 h 236"/>
                    <a:gd name="T10" fmla="*/ 204 w 265"/>
                    <a:gd name="T11" fmla="*/ 38 h 236"/>
                    <a:gd name="T12" fmla="*/ 130 w 265"/>
                    <a:gd name="T13" fmla="*/ 202 h 236"/>
                    <a:gd name="T14" fmla="*/ 51 w 265"/>
                    <a:gd name="T15" fmla="*/ 123 h 236"/>
                    <a:gd name="T16" fmla="*/ 130 w 265"/>
                    <a:gd name="T17" fmla="*/ 44 h 236"/>
                    <a:gd name="T18" fmla="*/ 209 w 265"/>
                    <a:gd name="T19" fmla="*/ 123 h 236"/>
                    <a:gd name="T20" fmla="*/ 130 w 265"/>
                    <a:gd name="T21" fmla="*/ 20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5" h="236">
                      <a:moveTo>
                        <a:pt x="204" y="38"/>
                      </a:moveTo>
                      <a:cubicBezTo>
                        <a:pt x="158" y="0"/>
                        <a:pt x="90" y="3"/>
                        <a:pt x="47" y="43"/>
                      </a:cubicBezTo>
                      <a:cubicBezTo>
                        <a:pt x="1" y="87"/>
                        <a:pt x="0" y="159"/>
                        <a:pt x="47" y="203"/>
                      </a:cubicBezTo>
                      <a:cubicBezTo>
                        <a:pt x="70" y="226"/>
                        <a:pt x="98" y="236"/>
                        <a:pt x="129" y="236"/>
                      </a:cubicBezTo>
                      <a:cubicBezTo>
                        <a:pt x="150" y="236"/>
                        <a:pt x="170" y="231"/>
                        <a:pt x="189" y="220"/>
                      </a:cubicBezTo>
                      <a:cubicBezTo>
                        <a:pt x="257" y="181"/>
                        <a:pt x="265" y="88"/>
                        <a:pt x="204" y="38"/>
                      </a:cubicBezTo>
                      <a:close/>
                      <a:moveTo>
                        <a:pt x="130" y="202"/>
                      </a:moveTo>
                      <a:cubicBezTo>
                        <a:pt x="86" y="202"/>
                        <a:pt x="51" y="167"/>
                        <a:pt x="51" y="123"/>
                      </a:cubicBezTo>
                      <a:cubicBezTo>
                        <a:pt x="51" y="79"/>
                        <a:pt x="86" y="44"/>
                        <a:pt x="130" y="44"/>
                      </a:cubicBezTo>
                      <a:cubicBezTo>
                        <a:pt x="174" y="44"/>
                        <a:pt x="209" y="79"/>
                        <a:pt x="209" y="123"/>
                      </a:cubicBezTo>
                      <a:cubicBezTo>
                        <a:pt x="209" y="167"/>
                        <a:pt x="174" y="202"/>
                        <a:pt x="130" y="202"/>
                      </a:cubicBezTo>
                      <a:close/>
                    </a:path>
                  </a:pathLst>
                </a:custGeom>
                <a:solidFill>
                  <a:srgbClr val="FA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4" name="Freeform 47"/>
                <p:cNvSpPr>
                  <a:spLocks/>
                </p:cNvSpPr>
                <p:nvPr/>
              </p:nvSpPr>
              <p:spPr bwMode="auto">
                <a:xfrm>
                  <a:off x="5587334" y="5841638"/>
                  <a:ext cx="179857" cy="171041"/>
                </a:xfrm>
                <a:custGeom>
                  <a:avLst/>
                  <a:gdLst>
                    <a:gd name="T0" fmla="*/ 72 w 107"/>
                    <a:gd name="T1" fmla="*/ 4 h 102"/>
                    <a:gd name="T2" fmla="*/ 64 w 107"/>
                    <a:gd name="T3" fmla="*/ 3 h 102"/>
                    <a:gd name="T4" fmla="*/ 10 w 107"/>
                    <a:gd name="T5" fmla="*/ 55 h 102"/>
                    <a:gd name="T6" fmla="*/ 13 w 107"/>
                    <a:gd name="T7" fmla="*/ 92 h 102"/>
                    <a:gd name="T8" fmla="*/ 49 w 107"/>
                    <a:gd name="T9" fmla="*/ 92 h 102"/>
                    <a:gd name="T10" fmla="*/ 107 w 107"/>
                    <a:gd name="T11" fmla="*/ 38 h 102"/>
                    <a:gd name="T12" fmla="*/ 72 w 107"/>
                    <a:gd name="T13" fmla="*/ 4 h 102"/>
                  </a:gdLst>
                  <a:ahLst/>
                  <a:cxnLst>
                    <a:cxn ang="0">
                      <a:pos x="T0" y="T1"/>
                    </a:cxn>
                    <a:cxn ang="0">
                      <a:pos x="T2" y="T3"/>
                    </a:cxn>
                    <a:cxn ang="0">
                      <a:pos x="T4" y="T5"/>
                    </a:cxn>
                    <a:cxn ang="0">
                      <a:pos x="T6" y="T7"/>
                    </a:cxn>
                    <a:cxn ang="0">
                      <a:pos x="T8" y="T9"/>
                    </a:cxn>
                    <a:cxn ang="0">
                      <a:pos x="T10" y="T11"/>
                    </a:cxn>
                    <a:cxn ang="0">
                      <a:pos x="T12" y="T13"/>
                    </a:cxn>
                  </a:cxnLst>
                  <a:rect l="0" t="0" r="r" b="b"/>
                  <a:pathLst>
                    <a:path w="107" h="102">
                      <a:moveTo>
                        <a:pt x="72" y="4"/>
                      </a:moveTo>
                      <a:cubicBezTo>
                        <a:pt x="70" y="0"/>
                        <a:pt x="67" y="0"/>
                        <a:pt x="64" y="3"/>
                      </a:cubicBezTo>
                      <a:cubicBezTo>
                        <a:pt x="46" y="21"/>
                        <a:pt x="27" y="37"/>
                        <a:pt x="10" y="55"/>
                      </a:cubicBezTo>
                      <a:cubicBezTo>
                        <a:pt x="0" y="66"/>
                        <a:pt x="2" y="83"/>
                        <a:pt x="13" y="92"/>
                      </a:cubicBezTo>
                      <a:cubicBezTo>
                        <a:pt x="23" y="101"/>
                        <a:pt x="39" y="102"/>
                        <a:pt x="49" y="92"/>
                      </a:cubicBezTo>
                      <a:cubicBezTo>
                        <a:pt x="68" y="75"/>
                        <a:pt x="87" y="57"/>
                        <a:pt x="107" y="38"/>
                      </a:cubicBezTo>
                      <a:cubicBezTo>
                        <a:pt x="93" y="28"/>
                        <a:pt x="81" y="18"/>
                        <a:pt x="72" y="4"/>
                      </a:cubicBezTo>
                      <a:close/>
                    </a:path>
                  </a:pathLst>
                </a:custGeom>
                <a:solidFill>
                  <a:srgbClr val="FA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96" name="Oval 48"/>
                <p:cNvSpPr>
                  <a:spLocks noChangeArrowheads="1"/>
                </p:cNvSpPr>
                <p:nvPr/>
              </p:nvSpPr>
              <p:spPr bwMode="auto">
                <a:xfrm>
                  <a:off x="5756611" y="5596538"/>
                  <a:ext cx="266259" cy="26626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grpSp>
            <p:nvGrpSpPr>
              <p:cNvPr id="139" name="Group 138"/>
              <p:cNvGrpSpPr/>
              <p:nvPr/>
            </p:nvGrpSpPr>
            <p:grpSpPr>
              <a:xfrm>
                <a:off x="1347762" y="3280047"/>
                <a:ext cx="281778" cy="281854"/>
                <a:chOff x="3018024" y="1820862"/>
                <a:chExt cx="685613" cy="685800"/>
              </a:xfrm>
            </p:grpSpPr>
            <p:sp>
              <p:nvSpPr>
                <p:cNvPr id="128" name="Freeform 127"/>
                <p:cNvSpPr/>
                <p:nvPr/>
              </p:nvSpPr>
              <p:spPr>
                <a:xfrm rot="16200000">
                  <a:off x="3018025" y="1820861"/>
                  <a:ext cx="255067" cy="255069"/>
                </a:xfrm>
                <a:custGeom>
                  <a:avLst/>
                  <a:gdLst>
                    <a:gd name="connsiteX0" fmla="*/ 255067 w 255067"/>
                    <a:gd name="connsiteY0" fmla="*/ 0 h 255069"/>
                    <a:gd name="connsiteX1" fmla="*/ 255066 w 255067"/>
                    <a:gd name="connsiteY1" fmla="*/ 255069 h 255069"/>
                    <a:gd name="connsiteX2" fmla="*/ 224534 w 255067"/>
                    <a:gd name="connsiteY2" fmla="*/ 255069 h 255069"/>
                    <a:gd name="connsiteX3" fmla="*/ 224535 w 255067"/>
                    <a:gd name="connsiteY3" fmla="*/ 30532 h 255069"/>
                    <a:gd name="connsiteX4" fmla="*/ 0 w 255067"/>
                    <a:gd name="connsiteY4" fmla="*/ 30532 h 255069"/>
                    <a:gd name="connsiteX5" fmla="*/ 0 w 255067"/>
                    <a:gd name="connsiteY5" fmla="*/ 0 h 255069"/>
                    <a:gd name="connsiteX6" fmla="*/ 255067 w 255067"/>
                    <a:gd name="connsiteY6" fmla="*/ 0 h 25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5067" h="255069">
                      <a:moveTo>
                        <a:pt x="255067" y="0"/>
                      </a:moveTo>
                      <a:lnTo>
                        <a:pt x="255066" y="255069"/>
                      </a:lnTo>
                      <a:lnTo>
                        <a:pt x="224534" y="255069"/>
                      </a:lnTo>
                      <a:lnTo>
                        <a:pt x="224535" y="30532"/>
                      </a:lnTo>
                      <a:lnTo>
                        <a:pt x="0" y="30532"/>
                      </a:lnTo>
                      <a:lnTo>
                        <a:pt x="0" y="0"/>
                      </a:lnTo>
                      <a:lnTo>
                        <a:pt x="255067"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7" name="Freeform 126"/>
                <p:cNvSpPr/>
                <p:nvPr/>
              </p:nvSpPr>
              <p:spPr>
                <a:xfrm rot="16200000">
                  <a:off x="3448570" y="1820863"/>
                  <a:ext cx="255067" cy="255066"/>
                </a:xfrm>
                <a:custGeom>
                  <a:avLst/>
                  <a:gdLst>
                    <a:gd name="connsiteX0" fmla="*/ 255067 w 255067"/>
                    <a:gd name="connsiteY0" fmla="*/ 0 h 255066"/>
                    <a:gd name="connsiteX1" fmla="*/ 255067 w 255067"/>
                    <a:gd name="connsiteY1" fmla="*/ 255066 h 255066"/>
                    <a:gd name="connsiteX2" fmla="*/ 0 w 255067"/>
                    <a:gd name="connsiteY2" fmla="*/ 255066 h 255066"/>
                    <a:gd name="connsiteX3" fmla="*/ 0 w 255067"/>
                    <a:gd name="connsiteY3" fmla="*/ 224534 h 255066"/>
                    <a:gd name="connsiteX4" fmla="*/ 224535 w 255067"/>
                    <a:gd name="connsiteY4" fmla="*/ 224534 h 255066"/>
                    <a:gd name="connsiteX5" fmla="*/ 224535 w 255067"/>
                    <a:gd name="connsiteY5" fmla="*/ 0 h 255066"/>
                    <a:gd name="connsiteX6" fmla="*/ 255067 w 255067"/>
                    <a:gd name="connsiteY6" fmla="*/ 0 h 25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5067" h="255066">
                      <a:moveTo>
                        <a:pt x="255067" y="0"/>
                      </a:moveTo>
                      <a:lnTo>
                        <a:pt x="255067" y="255066"/>
                      </a:lnTo>
                      <a:lnTo>
                        <a:pt x="0" y="255066"/>
                      </a:lnTo>
                      <a:lnTo>
                        <a:pt x="0" y="224534"/>
                      </a:lnTo>
                      <a:lnTo>
                        <a:pt x="224535" y="224534"/>
                      </a:lnTo>
                      <a:lnTo>
                        <a:pt x="224535" y="0"/>
                      </a:lnTo>
                      <a:lnTo>
                        <a:pt x="255067"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Freeform 120"/>
                <p:cNvSpPr/>
                <p:nvPr/>
              </p:nvSpPr>
              <p:spPr>
                <a:xfrm rot="16200000">
                  <a:off x="3018025" y="2251594"/>
                  <a:ext cx="255067" cy="255069"/>
                </a:xfrm>
                <a:custGeom>
                  <a:avLst/>
                  <a:gdLst>
                    <a:gd name="connsiteX0" fmla="*/ 255067 w 255067"/>
                    <a:gd name="connsiteY0" fmla="*/ 0 h 255069"/>
                    <a:gd name="connsiteX1" fmla="*/ 255067 w 255067"/>
                    <a:gd name="connsiteY1" fmla="*/ 30532 h 255069"/>
                    <a:gd name="connsiteX2" fmla="*/ 30532 w 255067"/>
                    <a:gd name="connsiteY2" fmla="*/ 30532 h 255069"/>
                    <a:gd name="connsiteX3" fmla="*/ 30532 w 255067"/>
                    <a:gd name="connsiteY3" fmla="*/ 255069 h 255069"/>
                    <a:gd name="connsiteX4" fmla="*/ 0 w 255067"/>
                    <a:gd name="connsiteY4" fmla="*/ 255069 h 255069"/>
                    <a:gd name="connsiteX5" fmla="*/ 0 w 255067"/>
                    <a:gd name="connsiteY5" fmla="*/ 0 h 255069"/>
                    <a:gd name="connsiteX6" fmla="*/ 255067 w 255067"/>
                    <a:gd name="connsiteY6" fmla="*/ 0 h 25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5067" h="255069">
                      <a:moveTo>
                        <a:pt x="255067" y="0"/>
                      </a:moveTo>
                      <a:lnTo>
                        <a:pt x="255067" y="30532"/>
                      </a:lnTo>
                      <a:lnTo>
                        <a:pt x="30532" y="30532"/>
                      </a:lnTo>
                      <a:lnTo>
                        <a:pt x="30532" y="255069"/>
                      </a:lnTo>
                      <a:lnTo>
                        <a:pt x="0" y="255069"/>
                      </a:lnTo>
                      <a:lnTo>
                        <a:pt x="0" y="0"/>
                      </a:lnTo>
                      <a:lnTo>
                        <a:pt x="255067"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9" name="Freeform 118"/>
                <p:cNvSpPr/>
                <p:nvPr/>
              </p:nvSpPr>
              <p:spPr>
                <a:xfrm rot="16200000">
                  <a:off x="3448570" y="2251595"/>
                  <a:ext cx="255067" cy="255066"/>
                </a:xfrm>
                <a:custGeom>
                  <a:avLst/>
                  <a:gdLst>
                    <a:gd name="connsiteX0" fmla="*/ 255067 w 255067"/>
                    <a:gd name="connsiteY0" fmla="*/ 224534 h 255066"/>
                    <a:gd name="connsiteX1" fmla="*/ 255067 w 255067"/>
                    <a:gd name="connsiteY1" fmla="*/ 255066 h 255066"/>
                    <a:gd name="connsiteX2" fmla="*/ 0 w 255067"/>
                    <a:gd name="connsiteY2" fmla="*/ 255066 h 255066"/>
                    <a:gd name="connsiteX3" fmla="*/ 0 w 255067"/>
                    <a:gd name="connsiteY3" fmla="*/ 0 h 255066"/>
                    <a:gd name="connsiteX4" fmla="*/ 30532 w 255067"/>
                    <a:gd name="connsiteY4" fmla="*/ 0 h 255066"/>
                    <a:gd name="connsiteX5" fmla="*/ 30532 w 255067"/>
                    <a:gd name="connsiteY5" fmla="*/ 224534 h 255066"/>
                    <a:gd name="connsiteX6" fmla="*/ 255067 w 255067"/>
                    <a:gd name="connsiteY6" fmla="*/ 224534 h 25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5067" h="255066">
                      <a:moveTo>
                        <a:pt x="255067" y="224534"/>
                      </a:moveTo>
                      <a:lnTo>
                        <a:pt x="255067" y="255066"/>
                      </a:lnTo>
                      <a:lnTo>
                        <a:pt x="0" y="255066"/>
                      </a:lnTo>
                      <a:lnTo>
                        <a:pt x="0" y="0"/>
                      </a:lnTo>
                      <a:lnTo>
                        <a:pt x="30532" y="0"/>
                      </a:lnTo>
                      <a:lnTo>
                        <a:pt x="30532" y="224534"/>
                      </a:lnTo>
                      <a:lnTo>
                        <a:pt x="255067" y="22453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grpSp>
        <p:nvGrpSpPr>
          <p:cNvPr id="10" name="Group 9"/>
          <p:cNvGrpSpPr/>
          <p:nvPr/>
        </p:nvGrpSpPr>
        <p:grpSpPr>
          <a:xfrm>
            <a:off x="7838273" y="2704730"/>
            <a:ext cx="1600200" cy="1600200"/>
            <a:chOff x="7853141" y="2704730"/>
            <a:chExt cx="1600200" cy="1600200"/>
          </a:xfrm>
        </p:grpSpPr>
        <p:sp>
          <p:nvSpPr>
            <p:cNvPr id="72" name="Rectangle 71"/>
            <p:cNvSpPr/>
            <p:nvPr/>
          </p:nvSpPr>
          <p:spPr>
            <a:xfrm>
              <a:off x="7853141" y="2704730"/>
              <a:ext cx="1600200" cy="1600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9" name="Group 8"/>
            <p:cNvGrpSpPr/>
            <p:nvPr/>
          </p:nvGrpSpPr>
          <p:grpSpPr>
            <a:xfrm>
              <a:off x="8081509" y="2976930"/>
              <a:ext cx="1143464" cy="1055801"/>
              <a:chOff x="8081509" y="2976930"/>
              <a:chExt cx="1143464" cy="1055801"/>
            </a:xfrm>
          </p:grpSpPr>
          <p:grpSp>
            <p:nvGrpSpPr>
              <p:cNvPr id="106" name="Group 105"/>
              <p:cNvGrpSpPr/>
              <p:nvPr/>
            </p:nvGrpSpPr>
            <p:grpSpPr>
              <a:xfrm>
                <a:off x="8081509" y="2976930"/>
                <a:ext cx="1143464" cy="1055801"/>
                <a:chOff x="5587334" y="5524242"/>
                <a:chExt cx="528992" cy="488437"/>
              </a:xfrm>
            </p:grpSpPr>
            <p:sp>
              <p:nvSpPr>
                <p:cNvPr id="107" name="Freeform 46"/>
                <p:cNvSpPr>
                  <a:spLocks noEditPoints="1"/>
                </p:cNvSpPr>
                <p:nvPr/>
              </p:nvSpPr>
              <p:spPr bwMode="auto">
                <a:xfrm>
                  <a:off x="5671973" y="5524242"/>
                  <a:ext cx="444353" cy="394982"/>
                </a:xfrm>
                <a:custGeom>
                  <a:avLst/>
                  <a:gdLst>
                    <a:gd name="T0" fmla="*/ 204 w 265"/>
                    <a:gd name="T1" fmla="*/ 38 h 236"/>
                    <a:gd name="T2" fmla="*/ 47 w 265"/>
                    <a:gd name="T3" fmla="*/ 43 h 236"/>
                    <a:gd name="T4" fmla="*/ 47 w 265"/>
                    <a:gd name="T5" fmla="*/ 203 h 236"/>
                    <a:gd name="T6" fmla="*/ 129 w 265"/>
                    <a:gd name="T7" fmla="*/ 236 h 236"/>
                    <a:gd name="T8" fmla="*/ 189 w 265"/>
                    <a:gd name="T9" fmla="*/ 220 h 236"/>
                    <a:gd name="T10" fmla="*/ 204 w 265"/>
                    <a:gd name="T11" fmla="*/ 38 h 236"/>
                    <a:gd name="T12" fmla="*/ 130 w 265"/>
                    <a:gd name="T13" fmla="*/ 202 h 236"/>
                    <a:gd name="T14" fmla="*/ 51 w 265"/>
                    <a:gd name="T15" fmla="*/ 123 h 236"/>
                    <a:gd name="T16" fmla="*/ 130 w 265"/>
                    <a:gd name="T17" fmla="*/ 44 h 236"/>
                    <a:gd name="T18" fmla="*/ 209 w 265"/>
                    <a:gd name="T19" fmla="*/ 123 h 236"/>
                    <a:gd name="T20" fmla="*/ 130 w 265"/>
                    <a:gd name="T21" fmla="*/ 20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5" h="236">
                      <a:moveTo>
                        <a:pt x="204" y="38"/>
                      </a:moveTo>
                      <a:cubicBezTo>
                        <a:pt x="158" y="0"/>
                        <a:pt x="90" y="3"/>
                        <a:pt x="47" y="43"/>
                      </a:cubicBezTo>
                      <a:cubicBezTo>
                        <a:pt x="1" y="87"/>
                        <a:pt x="0" y="159"/>
                        <a:pt x="47" y="203"/>
                      </a:cubicBezTo>
                      <a:cubicBezTo>
                        <a:pt x="70" y="226"/>
                        <a:pt x="98" y="236"/>
                        <a:pt x="129" y="236"/>
                      </a:cubicBezTo>
                      <a:cubicBezTo>
                        <a:pt x="150" y="236"/>
                        <a:pt x="170" y="231"/>
                        <a:pt x="189" y="220"/>
                      </a:cubicBezTo>
                      <a:cubicBezTo>
                        <a:pt x="257" y="181"/>
                        <a:pt x="265" y="88"/>
                        <a:pt x="204" y="38"/>
                      </a:cubicBezTo>
                      <a:close/>
                      <a:moveTo>
                        <a:pt x="130" y="202"/>
                      </a:moveTo>
                      <a:cubicBezTo>
                        <a:pt x="86" y="202"/>
                        <a:pt x="51" y="167"/>
                        <a:pt x="51" y="123"/>
                      </a:cubicBezTo>
                      <a:cubicBezTo>
                        <a:pt x="51" y="79"/>
                        <a:pt x="86" y="44"/>
                        <a:pt x="130" y="44"/>
                      </a:cubicBezTo>
                      <a:cubicBezTo>
                        <a:pt x="174" y="44"/>
                        <a:pt x="209" y="79"/>
                        <a:pt x="209" y="123"/>
                      </a:cubicBezTo>
                      <a:cubicBezTo>
                        <a:pt x="209" y="167"/>
                        <a:pt x="174" y="202"/>
                        <a:pt x="130" y="202"/>
                      </a:cubicBezTo>
                      <a:close/>
                    </a:path>
                  </a:pathLst>
                </a:custGeom>
                <a:solidFill>
                  <a:srgbClr val="FA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8" name="Freeform 47"/>
                <p:cNvSpPr>
                  <a:spLocks/>
                </p:cNvSpPr>
                <p:nvPr/>
              </p:nvSpPr>
              <p:spPr bwMode="auto">
                <a:xfrm>
                  <a:off x="5587334" y="5841638"/>
                  <a:ext cx="179857" cy="171041"/>
                </a:xfrm>
                <a:custGeom>
                  <a:avLst/>
                  <a:gdLst>
                    <a:gd name="T0" fmla="*/ 72 w 107"/>
                    <a:gd name="T1" fmla="*/ 4 h 102"/>
                    <a:gd name="T2" fmla="*/ 64 w 107"/>
                    <a:gd name="T3" fmla="*/ 3 h 102"/>
                    <a:gd name="T4" fmla="*/ 10 w 107"/>
                    <a:gd name="T5" fmla="*/ 55 h 102"/>
                    <a:gd name="T6" fmla="*/ 13 w 107"/>
                    <a:gd name="T7" fmla="*/ 92 h 102"/>
                    <a:gd name="T8" fmla="*/ 49 w 107"/>
                    <a:gd name="T9" fmla="*/ 92 h 102"/>
                    <a:gd name="T10" fmla="*/ 107 w 107"/>
                    <a:gd name="T11" fmla="*/ 38 h 102"/>
                    <a:gd name="T12" fmla="*/ 72 w 107"/>
                    <a:gd name="T13" fmla="*/ 4 h 102"/>
                  </a:gdLst>
                  <a:ahLst/>
                  <a:cxnLst>
                    <a:cxn ang="0">
                      <a:pos x="T0" y="T1"/>
                    </a:cxn>
                    <a:cxn ang="0">
                      <a:pos x="T2" y="T3"/>
                    </a:cxn>
                    <a:cxn ang="0">
                      <a:pos x="T4" y="T5"/>
                    </a:cxn>
                    <a:cxn ang="0">
                      <a:pos x="T6" y="T7"/>
                    </a:cxn>
                    <a:cxn ang="0">
                      <a:pos x="T8" y="T9"/>
                    </a:cxn>
                    <a:cxn ang="0">
                      <a:pos x="T10" y="T11"/>
                    </a:cxn>
                    <a:cxn ang="0">
                      <a:pos x="T12" y="T13"/>
                    </a:cxn>
                  </a:cxnLst>
                  <a:rect l="0" t="0" r="r" b="b"/>
                  <a:pathLst>
                    <a:path w="107" h="102">
                      <a:moveTo>
                        <a:pt x="72" y="4"/>
                      </a:moveTo>
                      <a:cubicBezTo>
                        <a:pt x="70" y="0"/>
                        <a:pt x="67" y="0"/>
                        <a:pt x="64" y="3"/>
                      </a:cubicBezTo>
                      <a:cubicBezTo>
                        <a:pt x="46" y="21"/>
                        <a:pt x="27" y="37"/>
                        <a:pt x="10" y="55"/>
                      </a:cubicBezTo>
                      <a:cubicBezTo>
                        <a:pt x="0" y="66"/>
                        <a:pt x="2" y="83"/>
                        <a:pt x="13" y="92"/>
                      </a:cubicBezTo>
                      <a:cubicBezTo>
                        <a:pt x="23" y="101"/>
                        <a:pt x="39" y="102"/>
                        <a:pt x="49" y="92"/>
                      </a:cubicBezTo>
                      <a:cubicBezTo>
                        <a:pt x="68" y="75"/>
                        <a:pt x="87" y="57"/>
                        <a:pt x="107" y="38"/>
                      </a:cubicBezTo>
                      <a:cubicBezTo>
                        <a:pt x="93" y="28"/>
                        <a:pt x="81" y="18"/>
                        <a:pt x="72" y="4"/>
                      </a:cubicBezTo>
                      <a:close/>
                    </a:path>
                  </a:pathLst>
                </a:custGeom>
                <a:solidFill>
                  <a:srgbClr val="FA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09" name="Oval 48"/>
                <p:cNvSpPr>
                  <a:spLocks noChangeArrowheads="1"/>
                </p:cNvSpPr>
                <p:nvPr/>
              </p:nvSpPr>
              <p:spPr bwMode="auto">
                <a:xfrm>
                  <a:off x="5756611" y="5596538"/>
                  <a:ext cx="266259" cy="26626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sp>
            <p:nvSpPr>
              <p:cNvPr id="114" name="Isosceles Triangle 113"/>
              <p:cNvSpPr/>
              <p:nvPr/>
            </p:nvSpPr>
            <p:spPr>
              <a:xfrm rot="5400000">
                <a:off x="8634444" y="3305527"/>
                <a:ext cx="292478" cy="25213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33" name="Group 32"/>
          <p:cNvGrpSpPr/>
          <p:nvPr/>
        </p:nvGrpSpPr>
        <p:grpSpPr>
          <a:xfrm>
            <a:off x="286494" y="4327635"/>
            <a:ext cx="2198407" cy="1344001"/>
            <a:chOff x="301362" y="4327635"/>
            <a:chExt cx="2198407" cy="1344001"/>
          </a:xfrm>
        </p:grpSpPr>
        <p:sp>
          <p:nvSpPr>
            <p:cNvPr id="34" name="TextBox 33"/>
            <p:cNvSpPr txBox="1"/>
            <p:nvPr/>
          </p:nvSpPr>
          <p:spPr>
            <a:xfrm>
              <a:off x="301362" y="4327635"/>
              <a:ext cx="2198407" cy="849463"/>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Bing Web Search API</a:t>
              </a:r>
            </a:p>
          </p:txBody>
        </p:sp>
        <p:sp>
          <p:nvSpPr>
            <p:cNvPr id="35" name="Rectangle 34"/>
            <p:cNvSpPr/>
            <p:nvPr/>
          </p:nvSpPr>
          <p:spPr>
            <a:xfrm>
              <a:off x="301362" y="5108405"/>
              <a:ext cx="2198407" cy="563231"/>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Connect powerful search to your apps</a:t>
              </a:r>
            </a:p>
          </p:txBody>
        </p:sp>
      </p:grpSp>
      <p:grpSp>
        <p:nvGrpSpPr>
          <p:cNvPr id="36" name="Group 35"/>
          <p:cNvGrpSpPr/>
          <p:nvPr/>
        </p:nvGrpSpPr>
        <p:grpSpPr>
          <a:xfrm>
            <a:off x="7534163" y="4327634"/>
            <a:ext cx="2198407" cy="1579451"/>
            <a:chOff x="7555860" y="4327634"/>
            <a:chExt cx="2198407" cy="1579451"/>
          </a:xfrm>
        </p:grpSpPr>
        <p:sp>
          <p:nvSpPr>
            <p:cNvPr id="37" name="TextBox 36"/>
            <p:cNvSpPr txBox="1"/>
            <p:nvPr/>
          </p:nvSpPr>
          <p:spPr>
            <a:xfrm>
              <a:off x="7555860" y="4327634"/>
              <a:ext cx="2198407" cy="849463"/>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Bing Video Search API</a:t>
              </a:r>
            </a:p>
          </p:txBody>
        </p:sp>
        <p:sp>
          <p:nvSpPr>
            <p:cNvPr id="38" name="Rectangle 37"/>
            <p:cNvSpPr/>
            <p:nvPr/>
          </p:nvSpPr>
          <p:spPr>
            <a:xfrm>
              <a:off x="7555860" y="5108405"/>
              <a:ext cx="2198407" cy="798680"/>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Trending videos, detailed metadata, and rich results</a:t>
              </a:r>
            </a:p>
          </p:txBody>
        </p:sp>
      </p:grpSp>
      <p:grpSp>
        <p:nvGrpSpPr>
          <p:cNvPr id="39" name="Group 38"/>
          <p:cNvGrpSpPr/>
          <p:nvPr/>
        </p:nvGrpSpPr>
        <p:grpSpPr>
          <a:xfrm>
            <a:off x="2596187" y="4327635"/>
            <a:ext cx="2418248" cy="1579450"/>
            <a:chOff x="2611055" y="4327635"/>
            <a:chExt cx="2418248" cy="1579450"/>
          </a:xfrm>
        </p:grpSpPr>
        <p:sp>
          <p:nvSpPr>
            <p:cNvPr id="40" name="TextBox 39"/>
            <p:cNvSpPr txBox="1"/>
            <p:nvPr/>
          </p:nvSpPr>
          <p:spPr>
            <a:xfrm>
              <a:off x="2611055" y="4327635"/>
              <a:ext cx="2418248" cy="849463"/>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Bing Autosuggest API</a:t>
              </a:r>
            </a:p>
          </p:txBody>
        </p:sp>
        <p:sp>
          <p:nvSpPr>
            <p:cNvPr id="41" name="Rectangle 40"/>
            <p:cNvSpPr/>
            <p:nvPr/>
          </p:nvSpPr>
          <p:spPr>
            <a:xfrm>
              <a:off x="2611055" y="5108405"/>
              <a:ext cx="2418248" cy="798680"/>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Give your app intelligent autosuggest options for searches</a:t>
              </a:r>
            </a:p>
          </p:txBody>
        </p:sp>
      </p:grpSp>
      <p:grpSp>
        <p:nvGrpSpPr>
          <p:cNvPr id="42" name="Group 41"/>
          <p:cNvGrpSpPr/>
          <p:nvPr/>
        </p:nvGrpSpPr>
        <p:grpSpPr>
          <a:xfrm>
            <a:off x="5009113" y="4327635"/>
            <a:ext cx="2418248" cy="1579450"/>
            <a:chOff x="5009113" y="4327635"/>
            <a:chExt cx="2418248" cy="1579450"/>
          </a:xfrm>
        </p:grpSpPr>
        <p:sp>
          <p:nvSpPr>
            <p:cNvPr id="43" name="TextBox 42"/>
            <p:cNvSpPr txBox="1"/>
            <p:nvPr/>
          </p:nvSpPr>
          <p:spPr>
            <a:xfrm>
              <a:off x="5009113" y="4327635"/>
              <a:ext cx="2418248" cy="849463"/>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Bing Image Search API</a:t>
              </a:r>
            </a:p>
          </p:txBody>
        </p:sp>
        <p:sp>
          <p:nvSpPr>
            <p:cNvPr id="44" name="Rectangle 43"/>
            <p:cNvSpPr/>
            <p:nvPr/>
          </p:nvSpPr>
          <p:spPr>
            <a:xfrm>
              <a:off x="5119034" y="5108405"/>
              <a:ext cx="2198407" cy="798680"/>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Bring advanced image and metadata search to your app</a:t>
              </a:r>
            </a:p>
          </p:txBody>
        </p:sp>
      </p:grpSp>
      <p:grpSp>
        <p:nvGrpSpPr>
          <p:cNvPr id="47" name="Group 46"/>
          <p:cNvGrpSpPr/>
          <p:nvPr/>
        </p:nvGrpSpPr>
        <p:grpSpPr>
          <a:xfrm>
            <a:off x="9961875" y="4327632"/>
            <a:ext cx="2198407" cy="1579451"/>
            <a:chOff x="9971594" y="4327632"/>
            <a:chExt cx="2198407" cy="1579451"/>
          </a:xfrm>
        </p:grpSpPr>
        <p:sp>
          <p:nvSpPr>
            <p:cNvPr id="48" name="TextBox 47"/>
            <p:cNvSpPr txBox="1"/>
            <p:nvPr/>
          </p:nvSpPr>
          <p:spPr>
            <a:xfrm>
              <a:off x="10071521" y="4327632"/>
              <a:ext cx="1998552" cy="849463"/>
            </a:xfrm>
            <a:prstGeom prst="rect">
              <a:avLst/>
            </a:prstGeom>
            <a:noFill/>
          </p:spPr>
          <p:txBody>
            <a:bodyPr wrap="squar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8C00"/>
                  </a:solidFill>
                  <a:effectLst/>
                  <a:uLnTx/>
                  <a:uFillTx/>
                  <a:latin typeface="Segoe UI Semibold" panose="020B0702040204020203" pitchFamily="34" charset="0"/>
                  <a:ea typeface="+mn-ea"/>
                  <a:cs typeface="Segoe UI Semibold" panose="020B0702040204020203" pitchFamily="34" charset="0"/>
                </a:rPr>
                <a:t>Bing News Search API</a:t>
              </a:r>
            </a:p>
          </p:txBody>
        </p:sp>
        <p:sp>
          <p:nvSpPr>
            <p:cNvPr id="49" name="Rectangle 48"/>
            <p:cNvSpPr/>
            <p:nvPr/>
          </p:nvSpPr>
          <p:spPr>
            <a:xfrm>
              <a:off x="9971594" y="5108403"/>
              <a:ext cx="2198407" cy="798680"/>
            </a:xfrm>
            <a:prstGeom prst="rect">
              <a:avLst/>
            </a:prstGeom>
          </p:spPr>
          <p:txBody>
            <a:bodyPr wrap="square">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srgbClr val="505050"/>
                  </a:solidFill>
                  <a:effectLst/>
                  <a:uLnTx/>
                  <a:uFillTx/>
                  <a:latin typeface="Segoe UI"/>
                  <a:ea typeface="+mn-ea"/>
                  <a:cs typeface="+mn-cs"/>
                </a:rPr>
                <a:t>Link your users to robust and timely news searches</a:t>
              </a:r>
            </a:p>
          </p:txBody>
        </p:sp>
      </p:grpSp>
    </p:spTree>
    <p:extLst>
      <p:ext uri="{BB962C8B-B14F-4D97-AF65-F5344CB8AC3E}">
        <p14:creationId xmlns:p14="http://schemas.microsoft.com/office/powerpoint/2010/main" val="695656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xit" presetSubtype="0" fill="hold" nodeType="afterEffect">
                                  <p:stCondLst>
                                    <p:cond delay="0"/>
                                  </p:stCondLst>
                                  <p:childTnLst>
                                    <p:animEffect transition="out" filter="fade">
                                      <p:cBhvr>
                                        <p:cTn id="6" dur="300"/>
                                        <p:tgtEl>
                                          <p:spTgt spid="95"/>
                                        </p:tgtEl>
                                      </p:cBhvr>
                                    </p:animEffect>
                                    <p:anim calcmode="lin" valueType="num">
                                      <p:cBhvr>
                                        <p:cTn id="7" dur="300"/>
                                        <p:tgtEl>
                                          <p:spTgt spid="95"/>
                                        </p:tgtEl>
                                        <p:attrNameLst>
                                          <p:attrName>ppt_x</p:attrName>
                                        </p:attrNameLst>
                                      </p:cBhvr>
                                      <p:tavLst>
                                        <p:tav tm="0">
                                          <p:val>
                                            <p:strVal val="ppt_x"/>
                                          </p:val>
                                        </p:tav>
                                        <p:tav tm="100000">
                                          <p:val>
                                            <p:strVal val="ppt_x"/>
                                          </p:val>
                                        </p:tav>
                                      </p:tavLst>
                                    </p:anim>
                                    <p:anim calcmode="lin" valueType="num">
                                      <p:cBhvr>
                                        <p:cTn id="8" dur="300"/>
                                        <p:tgtEl>
                                          <p:spTgt spid="95"/>
                                        </p:tgtEl>
                                        <p:attrNameLst>
                                          <p:attrName>ppt_y</p:attrName>
                                        </p:attrNameLst>
                                      </p:cBhvr>
                                      <p:tavLst>
                                        <p:tav tm="0">
                                          <p:val>
                                            <p:strVal val="ppt_y"/>
                                          </p:val>
                                        </p:tav>
                                        <p:tav tm="100000">
                                          <p:val>
                                            <p:strVal val="ppt_y+.1"/>
                                          </p:val>
                                        </p:tav>
                                      </p:tavLst>
                                    </p:anim>
                                    <p:set>
                                      <p:cBhvr>
                                        <p:cTn id="9" dur="1" fill="hold">
                                          <p:stCondLst>
                                            <p:cond delay="299"/>
                                          </p:stCondLst>
                                        </p:cTn>
                                        <p:tgtEl>
                                          <p:spTgt spid="95"/>
                                        </p:tgtEl>
                                        <p:attrNameLst>
                                          <p:attrName>style.visibility</p:attrName>
                                        </p:attrNameLst>
                                      </p:cBhvr>
                                      <p:to>
                                        <p:strVal val="hidden"/>
                                      </p:to>
                                    </p:set>
                                  </p:childTnLst>
                                </p:cTn>
                              </p:par>
                              <p:par>
                                <p:cTn id="10" presetID="47"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300"/>
                                        <p:tgtEl>
                                          <p:spTgt spid="2"/>
                                        </p:tgtEl>
                                      </p:cBhvr>
                                    </p:animEffect>
                                    <p:anim calcmode="lin" valueType="num">
                                      <p:cBhvr>
                                        <p:cTn id="13" dur="300" fill="hold"/>
                                        <p:tgtEl>
                                          <p:spTgt spid="2"/>
                                        </p:tgtEl>
                                        <p:attrNameLst>
                                          <p:attrName>ppt_x</p:attrName>
                                        </p:attrNameLst>
                                      </p:cBhvr>
                                      <p:tavLst>
                                        <p:tav tm="0">
                                          <p:val>
                                            <p:strVal val="#ppt_x"/>
                                          </p:val>
                                        </p:tav>
                                        <p:tav tm="100000">
                                          <p:val>
                                            <p:strVal val="#ppt_x"/>
                                          </p:val>
                                        </p:tav>
                                      </p:tavLst>
                                    </p:anim>
                                    <p:anim calcmode="lin" valueType="num">
                                      <p:cBhvr>
                                        <p:cTn id="14" dur="3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ssion Goals</a:t>
            </a:r>
            <a:br>
              <a:rPr lang="en-US" dirty="0"/>
            </a:br>
            <a:endParaRPr lang="en-US" dirty="0"/>
          </a:p>
        </p:txBody>
      </p:sp>
      <p:sp>
        <p:nvSpPr>
          <p:cNvPr id="3" name="Text Placeholder 2"/>
          <p:cNvSpPr>
            <a:spLocks noGrp="1"/>
          </p:cNvSpPr>
          <p:nvPr>
            <p:ph type="body" sz="quarter" idx="10"/>
          </p:nvPr>
        </p:nvSpPr>
        <p:spPr>
          <a:xfrm>
            <a:off x="274702" y="1211287"/>
            <a:ext cx="11888787" cy="2899255"/>
          </a:xfrm>
        </p:spPr>
        <p:txBody>
          <a:bodyPr/>
          <a:lstStyle/>
          <a:p>
            <a:r>
              <a:rPr lang="en-US" dirty="0"/>
              <a:t>Give you an overview of Cognitive Services (since we won’t be able to hit everything in the hands-on labs)</a:t>
            </a:r>
          </a:p>
          <a:p>
            <a:r>
              <a:rPr lang="en-US" dirty="0"/>
              <a:t>Understand how Cognitive Services fits into our broader machine learning offerings</a:t>
            </a:r>
          </a:p>
          <a:p>
            <a:pPr lvl="0"/>
            <a:endParaRPr lang="en-US" dirty="0"/>
          </a:p>
        </p:txBody>
      </p:sp>
    </p:spTree>
    <p:extLst>
      <p:ext uri="{BB962C8B-B14F-4D97-AF65-F5344CB8AC3E}">
        <p14:creationId xmlns:p14="http://schemas.microsoft.com/office/powerpoint/2010/main" val="363210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a:xfrm>
            <a:off x="274638" y="4872215"/>
            <a:ext cx="7315199" cy="1625060"/>
          </a:xfrm>
        </p:spPr>
        <p:txBody>
          <a:bodyPr/>
          <a:lstStyle/>
          <a:p>
            <a:r>
              <a:rPr lang="en-US" dirty="0"/>
              <a:t>Project Murphy Bot</a:t>
            </a:r>
          </a:p>
          <a:p>
            <a:r>
              <a:rPr lang="en-US" dirty="0">
                <a:hlinkClick r:id="rId3"/>
              </a:rPr>
              <a:t>http://projectmurphy.net</a:t>
            </a:r>
            <a:r>
              <a:rPr lang="en-US" dirty="0"/>
              <a:t> </a:t>
            </a:r>
          </a:p>
          <a:p>
            <a:endParaRPr lang="en-US" dirty="0"/>
          </a:p>
        </p:txBody>
      </p:sp>
    </p:spTree>
    <p:extLst>
      <p:ext uri="{BB962C8B-B14F-4D97-AF65-F5344CB8AC3E}">
        <p14:creationId xmlns:p14="http://schemas.microsoft.com/office/powerpoint/2010/main" val="284633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srcRect b="1823"/>
          <a:stretch/>
        </p:blipFill>
        <p:spPr>
          <a:xfrm>
            <a:off x="0" y="0"/>
            <a:ext cx="12436475" cy="6994525"/>
          </a:xfrm>
          <a:prstGeom prst="rect">
            <a:avLst/>
          </a:prstGeom>
        </p:spPr>
      </p:pic>
      <p:grpSp>
        <p:nvGrpSpPr>
          <p:cNvPr id="12" name="Group 11"/>
          <p:cNvGrpSpPr/>
          <p:nvPr/>
        </p:nvGrpSpPr>
        <p:grpSpPr>
          <a:xfrm>
            <a:off x="5897383" y="754062"/>
            <a:ext cx="6539092" cy="5486401"/>
            <a:chOff x="-2" y="-599007"/>
            <a:chExt cx="6539092" cy="6697663"/>
          </a:xfrm>
        </p:grpSpPr>
        <p:sp>
          <p:nvSpPr>
            <p:cNvPr id="13" name="Rectangle 12"/>
            <p:cNvSpPr/>
            <p:nvPr/>
          </p:nvSpPr>
          <p:spPr>
            <a:xfrm>
              <a:off x="0" y="5554662"/>
              <a:ext cx="6539090" cy="543994"/>
            </a:xfrm>
            <a:prstGeom prst="rect">
              <a:avLst/>
            </a:prstGeom>
            <a:solidFill>
              <a:schemeClr val="accent6">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 name="Rectangle 13"/>
            <p:cNvSpPr/>
            <p:nvPr/>
          </p:nvSpPr>
          <p:spPr bwMode="auto">
            <a:xfrm>
              <a:off x="-2" y="-599007"/>
              <a:ext cx="6539092" cy="615750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149217" rIns="457200" bIns="149217"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180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Segoe UI Light"/>
                  <a:ea typeface="+mn-ea"/>
                  <a:cs typeface="+mn-cs"/>
                </a:rPr>
                <a:t>Bringing it all together </a:t>
              </a:r>
            </a:p>
            <a:p>
              <a:pPr marL="0" marR="0" lvl="0" indent="0" algn="l" defTabSz="932742" rtl="0" eaLnBrk="1" fontAlgn="auto" latinLnBrk="0" hangingPunct="1">
                <a:lnSpc>
                  <a:spcPct val="100000"/>
                </a:lnSpc>
                <a:spcBef>
                  <a:spcPts val="0"/>
                </a:spcBef>
                <a:spcAft>
                  <a:spcPts val="180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The Seeing AI App </a:t>
              </a:r>
            </a:p>
            <a:p>
              <a:pPr marL="0" marR="0" lvl="0" indent="0" algn="l" defTabSz="932742" rtl="0" eaLnBrk="1" fontAlgn="auto" latinLnBrk="0" hangingPunct="1">
                <a:lnSpc>
                  <a:spcPct val="100000"/>
                </a:lnSpc>
                <a:spcBef>
                  <a:spcPts val="0"/>
                </a:spcBef>
                <a:spcAft>
                  <a:spcPts val="180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Computer Vision, Image, Speech Recognition, NLP, and ML from Microsoft Cognitive Services </a:t>
              </a:r>
            </a:p>
          </p:txBody>
        </p:sp>
        <p:sp>
          <p:nvSpPr>
            <p:cNvPr id="16" name="TextBox 15">
              <a:hlinkClick r:id="rId4"/>
            </p:cNvPr>
            <p:cNvSpPr txBox="1"/>
            <p:nvPr/>
          </p:nvSpPr>
          <p:spPr>
            <a:xfrm>
              <a:off x="1669261" y="5653232"/>
              <a:ext cx="1631858" cy="346855"/>
            </a:xfrm>
            <a:prstGeom prst="rect">
              <a:avLst/>
            </a:prstGeom>
            <a:solidFill>
              <a:schemeClr val="accent4"/>
            </a:solidFill>
          </p:spPr>
          <p:txBody>
            <a:bodyPr wrap="non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Watch Video Here</a:t>
              </a:r>
            </a:p>
          </p:txBody>
        </p:sp>
        <p:sp>
          <p:nvSpPr>
            <p:cNvPr id="17" name="TextBox 16">
              <a:hlinkClick r:id="rId5"/>
            </p:cNvPr>
            <p:cNvSpPr txBox="1"/>
            <p:nvPr/>
          </p:nvSpPr>
          <p:spPr>
            <a:xfrm>
              <a:off x="109186" y="5653232"/>
              <a:ext cx="1450783" cy="346855"/>
            </a:xfrm>
            <a:prstGeom prst="rect">
              <a:avLst/>
            </a:prstGeom>
            <a:solidFill>
              <a:schemeClr val="accent4"/>
            </a:solidFill>
          </p:spPr>
          <p:txBody>
            <a:bodyPr wrap="non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Read Blog Here</a:t>
              </a:r>
            </a:p>
          </p:txBody>
        </p:sp>
      </p:grpSp>
    </p:spTree>
    <p:extLst>
      <p:ext uri="{BB962C8B-B14F-4D97-AF65-F5344CB8AC3E}">
        <p14:creationId xmlns:p14="http://schemas.microsoft.com/office/powerpoint/2010/main" val="2075492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1+#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eing AI</a:t>
            </a:r>
          </a:p>
        </p:txBody>
      </p:sp>
      <p:pic>
        <p:nvPicPr>
          <p:cNvPr id="5" name="R2mC-NUAmMk"/>
          <p:cNvPicPr>
            <a:picLocks noRot="1" noChangeAspect="1"/>
          </p:cNvPicPr>
          <p:nvPr>
            <a:videoFile r:link="rId1"/>
          </p:nvPr>
        </p:nvPicPr>
        <p:blipFill>
          <a:blip r:embed="rId3"/>
          <a:stretch>
            <a:fillRect/>
          </a:stretch>
        </p:blipFill>
        <p:spPr>
          <a:xfrm>
            <a:off x="-15173" y="-15433"/>
            <a:ext cx="12451648" cy="7004052"/>
          </a:xfrm>
          <a:prstGeom prst="rect">
            <a:avLst/>
          </a:prstGeom>
        </p:spPr>
      </p:pic>
    </p:spTree>
    <p:extLst>
      <p:ext uri="{BB962C8B-B14F-4D97-AF65-F5344CB8AC3E}">
        <p14:creationId xmlns:p14="http://schemas.microsoft.com/office/powerpoint/2010/main" val="4290865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1338" b="-38"/>
          <a:stretch/>
        </p:blipFill>
        <p:spPr>
          <a:xfrm>
            <a:off x="0" y="-84137"/>
            <a:ext cx="12436475" cy="7086600"/>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46437" y="754062"/>
            <a:ext cx="3228470" cy="545253"/>
          </a:xfrm>
          <a:prstGeom prst="rect">
            <a:avLst/>
          </a:prstGeom>
        </p:spPr>
      </p:pic>
      <p:grpSp>
        <p:nvGrpSpPr>
          <p:cNvPr id="18" name="Group 17"/>
          <p:cNvGrpSpPr/>
          <p:nvPr/>
        </p:nvGrpSpPr>
        <p:grpSpPr>
          <a:xfrm>
            <a:off x="-2" y="1510765"/>
            <a:ext cx="6539092" cy="3972994"/>
            <a:chOff x="-2" y="2125662"/>
            <a:chExt cx="6539092" cy="3972994"/>
          </a:xfrm>
        </p:grpSpPr>
        <p:sp>
          <p:nvSpPr>
            <p:cNvPr id="19" name="Rectangle 18"/>
            <p:cNvSpPr/>
            <p:nvPr/>
          </p:nvSpPr>
          <p:spPr>
            <a:xfrm>
              <a:off x="0" y="5554662"/>
              <a:ext cx="6539090" cy="543994"/>
            </a:xfrm>
            <a:prstGeom prst="rect">
              <a:avLst/>
            </a:prstGeom>
            <a:solidFill>
              <a:schemeClr val="accent6">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 name="Rectangle 19"/>
            <p:cNvSpPr/>
            <p:nvPr/>
          </p:nvSpPr>
          <p:spPr bwMode="auto">
            <a:xfrm>
              <a:off x="-2" y="2125662"/>
              <a:ext cx="6539092" cy="343283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9217" rIns="365760" bIns="149217"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150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Segoe UI"/>
                  <a:ea typeface="+mn-ea"/>
                  <a:cs typeface="+mn-cs"/>
                </a:rPr>
                <a:t>“I have not seen anything comparable. We can use the Computer Vision API to prove to our clients the reliability of the data, so they can be confident making important business decisions based on that information.”</a:t>
              </a:r>
              <a:endParaRPr kumimoji="0" lang="en-US" sz="2400" b="0" i="1" u="none" strike="noStrike" kern="1200" cap="none" spc="0" normalizeH="0" baseline="0" noProof="0" dirty="0">
                <a:ln>
                  <a:noFill/>
                </a:ln>
                <a:solidFill>
                  <a:prstClr val="white"/>
                </a:solidFill>
                <a:effectLst/>
                <a:uLnTx/>
                <a:uFillTx/>
                <a:latin typeface="Segoe UI"/>
                <a:ea typeface="+mn-ea"/>
                <a:cs typeface="+mn-cs"/>
              </a:endParaRPr>
            </a:p>
            <a:p>
              <a:pPr marL="0" marR="0" lvl="0" indent="0" algn="r" defTabSz="932742" rtl="0" eaLnBrk="1" fontAlgn="auto" latinLnBrk="0" hangingPunct="1">
                <a:lnSpc>
                  <a:spcPct val="100000"/>
                </a:lnSpc>
                <a:spcBef>
                  <a:spcPts val="0"/>
                </a:spcBef>
                <a:spcAft>
                  <a:spcPts val="1500"/>
                </a:spcAft>
                <a:buClrTx/>
                <a:buSzTx/>
                <a:buFontTx/>
                <a:buNone/>
                <a:tabLst/>
                <a:defRPr/>
              </a:pPr>
              <a:r>
                <a:rPr kumimoji="0" lang="nl-NL" sz="1700" b="0" i="0" u="none" strike="noStrike" kern="1200" cap="none" spc="0" normalizeH="0" baseline="0" noProof="0" dirty="0">
                  <a:ln>
                    <a:noFill/>
                  </a:ln>
                  <a:solidFill>
                    <a:prstClr val="white"/>
                  </a:solidFill>
                  <a:effectLst/>
                  <a:uLnTx/>
                  <a:uFillTx/>
                  <a:latin typeface="Segoe UI"/>
                  <a:ea typeface="+mn-ea"/>
                  <a:cs typeface="+mn-cs"/>
                </a:rPr>
                <a:t>Vigiglobe CEO Leendert de Voogd </a:t>
              </a:r>
              <a:endParaRPr kumimoji="0" lang="en-US" sz="1700" b="0" i="1" u="none" strike="noStrike" kern="1200" cap="none" spc="0" normalizeH="0" baseline="0" noProof="0" dirty="0">
                <a:ln>
                  <a:noFill/>
                </a:ln>
                <a:solidFill>
                  <a:prstClr val="white"/>
                </a:solidFill>
                <a:effectLst/>
                <a:uLnTx/>
                <a:uFillTx/>
                <a:latin typeface="Segoe UI"/>
                <a:ea typeface="+mn-ea"/>
                <a:cs typeface="+mn-cs"/>
              </a:endParaRPr>
            </a:p>
          </p:txBody>
        </p:sp>
        <p:sp>
          <p:nvSpPr>
            <p:cNvPr id="21" name="TextBox 20"/>
            <p:cNvSpPr txBox="1"/>
            <p:nvPr/>
          </p:nvSpPr>
          <p:spPr>
            <a:xfrm>
              <a:off x="293966" y="5561202"/>
              <a:ext cx="2418291" cy="530915"/>
            </a:xfrm>
            <a:prstGeom prst="rect">
              <a:avLst/>
            </a:prstGeom>
            <a:noFill/>
          </p:spPr>
          <p:txBody>
            <a:bodyPr wrap="none" lIns="182880" tIns="146304" rIns="182880" bIns="146304" rtlCol="0" anchor="ctr">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Computer Vision API</a:t>
              </a:r>
            </a:p>
          </p:txBody>
        </p:sp>
        <p:sp>
          <p:nvSpPr>
            <p:cNvPr id="22" name="TextBox 21">
              <a:hlinkClick r:id="rId5"/>
            </p:cNvPr>
            <p:cNvSpPr txBox="1"/>
            <p:nvPr/>
          </p:nvSpPr>
          <p:spPr>
            <a:xfrm>
              <a:off x="4544934" y="5653232"/>
              <a:ext cx="1895199" cy="346855"/>
            </a:xfrm>
            <a:prstGeom prst="rect">
              <a:avLst/>
            </a:prstGeom>
            <a:solidFill>
              <a:schemeClr val="accent4"/>
            </a:solidFill>
          </p:spPr>
          <p:txBody>
            <a:bodyPr wrap="non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Read Case Study Here</a:t>
              </a:r>
            </a:p>
          </p:txBody>
        </p:sp>
      </p:grpSp>
    </p:spTree>
    <p:extLst>
      <p:ext uri="{BB962C8B-B14F-4D97-AF65-F5344CB8AC3E}">
        <p14:creationId xmlns:p14="http://schemas.microsoft.com/office/powerpoint/2010/main" val="2955228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0-#ppt_w/2"/>
                                          </p:val>
                                        </p:tav>
                                        <p:tav tm="100000">
                                          <p:val>
                                            <p:strVal val="#ppt_x"/>
                                          </p:val>
                                        </p:tav>
                                      </p:tavLst>
                                    </p:anim>
                                    <p:anim calcmode="lin" valueType="num">
                                      <p:cBhvr additive="base">
                                        <p:cTn id="8" dur="5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Group 2"/>
          <p:cNvGrpSpPr/>
          <p:nvPr/>
        </p:nvGrpSpPr>
        <p:grpSpPr>
          <a:xfrm>
            <a:off x="-19356" y="-9226"/>
            <a:ext cx="12455831" cy="7007241"/>
            <a:chOff x="-19356" y="-9226"/>
            <a:chExt cx="12455831" cy="7007241"/>
          </a:xfrm>
        </p:grpSpPr>
        <p:pic>
          <p:nvPicPr>
            <p:cNvPr id="2" name="Picture 1"/>
            <p:cNvPicPr>
              <a:picLocks noChangeAspect="1"/>
            </p:cNvPicPr>
            <p:nvPr/>
          </p:nvPicPr>
          <p:blipFill rotWithShape="1">
            <a:blip r:embed="rId3"/>
            <a:srcRect r="257"/>
            <a:stretch/>
          </p:blipFill>
          <p:spPr>
            <a:xfrm>
              <a:off x="0" y="-9226"/>
              <a:ext cx="12436475" cy="7007241"/>
            </a:xfrm>
            <a:prstGeom prst="rect">
              <a:avLst/>
            </a:prstGeom>
          </p:spPr>
        </p:pic>
        <p:sp>
          <p:nvSpPr>
            <p:cNvPr id="10" name="Rectangle 9"/>
            <p:cNvSpPr/>
            <p:nvPr/>
          </p:nvSpPr>
          <p:spPr bwMode="auto">
            <a:xfrm>
              <a:off x="-19356" y="-9226"/>
              <a:ext cx="6999593" cy="7006019"/>
            </a:xfrm>
            <a:prstGeom prst="rect">
              <a:avLst/>
            </a:prstGeom>
            <a:gradFill>
              <a:gsLst>
                <a:gs pos="0">
                  <a:schemeClr val="tx2">
                    <a:alpha val="0"/>
                  </a:schemeClr>
                </a:gs>
                <a:gs pos="100000">
                  <a:schemeClr val="tx2"/>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2" y="1510765"/>
            <a:ext cx="6539092" cy="3972994"/>
            <a:chOff x="-2" y="2125662"/>
            <a:chExt cx="6539092" cy="3972994"/>
          </a:xfrm>
        </p:grpSpPr>
        <p:sp>
          <p:nvSpPr>
            <p:cNvPr id="12" name="Rectangle 11"/>
            <p:cNvSpPr/>
            <p:nvPr/>
          </p:nvSpPr>
          <p:spPr>
            <a:xfrm>
              <a:off x="0" y="5554662"/>
              <a:ext cx="6539090" cy="543994"/>
            </a:xfrm>
            <a:prstGeom prst="rect">
              <a:avLst/>
            </a:prstGeom>
            <a:solidFill>
              <a:schemeClr val="accent6">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Rectangle 8"/>
            <p:cNvSpPr/>
            <p:nvPr/>
          </p:nvSpPr>
          <p:spPr bwMode="auto">
            <a:xfrm>
              <a:off x="-2" y="2125662"/>
              <a:ext cx="6539092" cy="343283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9217" rIns="365760" bIns="149217"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150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Segoe UI"/>
                  <a:ea typeface="+mn-ea"/>
                  <a:cs typeface="+mn-cs"/>
                </a:rPr>
                <a:t>“Microsoft Cognitive Services gives us a huge range of opportunities. It’s a perfect match for us now, and in the future when we want to add more features to our app. The Computer Vision and Speech APIs are extremely powerful.”</a:t>
              </a:r>
              <a:endParaRPr kumimoji="0" lang="en-US" sz="2400" b="0" i="1" u="none" strike="noStrike" kern="1200" cap="none" spc="0" normalizeH="0" baseline="0" noProof="0" dirty="0">
                <a:ln>
                  <a:noFill/>
                </a:ln>
                <a:solidFill>
                  <a:prstClr val="white"/>
                </a:solidFill>
                <a:effectLst/>
                <a:uLnTx/>
                <a:uFillTx/>
                <a:latin typeface="Segoe UI"/>
                <a:ea typeface="+mn-ea"/>
                <a:cs typeface="+mn-cs"/>
              </a:endParaRPr>
            </a:p>
            <a:p>
              <a:pPr marL="0" marR="0" lvl="0" indent="0" algn="r" defTabSz="932742" rtl="0" eaLnBrk="1" fontAlgn="auto" latinLnBrk="0" hangingPunct="1">
                <a:lnSpc>
                  <a:spcPct val="100000"/>
                </a:lnSpc>
                <a:spcBef>
                  <a:spcPts val="0"/>
                </a:spcBef>
                <a:spcAft>
                  <a:spcPts val="1500"/>
                </a:spcAft>
                <a:buClrTx/>
                <a:buSzTx/>
                <a:buFontTx/>
                <a:buNone/>
                <a:tabLst/>
                <a:defRPr/>
              </a:pPr>
              <a:r>
                <a:rPr kumimoji="0" lang="en-US" sz="1700" b="0" i="0" u="none" strike="noStrike" kern="1200" cap="none" spc="0" normalizeH="0" baseline="0" noProof="0" dirty="0" err="1">
                  <a:ln>
                    <a:noFill/>
                  </a:ln>
                  <a:solidFill>
                    <a:prstClr val="white"/>
                  </a:solidFill>
                  <a:effectLst/>
                  <a:uLnTx/>
                  <a:uFillTx/>
                  <a:latin typeface="Segoe UI"/>
                  <a:ea typeface="+mn-ea"/>
                  <a:cs typeface="+mn-cs"/>
                </a:rPr>
                <a:t>Blucup</a:t>
              </a:r>
              <a:r>
                <a:rPr kumimoji="0" lang="en-US" sz="1700" b="0" i="0" u="none" strike="noStrike" kern="1200" cap="none" spc="0" normalizeH="0" baseline="0" noProof="0" dirty="0">
                  <a:ln>
                    <a:noFill/>
                  </a:ln>
                  <a:solidFill>
                    <a:prstClr val="white"/>
                  </a:solidFill>
                  <a:effectLst/>
                  <a:uLnTx/>
                  <a:uFillTx/>
                  <a:latin typeface="Segoe UI"/>
                  <a:ea typeface="+mn-ea"/>
                  <a:cs typeface="+mn-cs"/>
                </a:rPr>
                <a:t> CEO </a:t>
              </a:r>
              <a:r>
                <a:rPr kumimoji="0" lang="en-US" sz="1700" b="0" i="0" u="none" strike="noStrike" kern="1200" cap="none" spc="0" normalizeH="0" baseline="0" noProof="0" dirty="0" err="1">
                  <a:ln>
                    <a:noFill/>
                  </a:ln>
                  <a:solidFill>
                    <a:prstClr val="white"/>
                  </a:solidFill>
                  <a:effectLst/>
                  <a:uLnTx/>
                  <a:uFillTx/>
                  <a:latin typeface="Segoe UI"/>
                  <a:ea typeface="+mn-ea"/>
                  <a:cs typeface="+mn-cs"/>
                </a:rPr>
                <a:t>Jaan</a:t>
              </a:r>
              <a:r>
                <a:rPr kumimoji="0" lang="en-US" sz="1700" b="0" i="0" u="none" strike="noStrike" kern="1200" cap="none" spc="0" normalizeH="0" baseline="0" noProof="0" dirty="0">
                  <a:ln>
                    <a:noFill/>
                  </a:ln>
                  <a:solidFill>
                    <a:prstClr val="white"/>
                  </a:solidFill>
                  <a:effectLst/>
                  <a:uLnTx/>
                  <a:uFillTx/>
                  <a:latin typeface="Segoe UI"/>
                  <a:ea typeface="+mn-ea"/>
                  <a:cs typeface="+mn-cs"/>
                </a:rPr>
                <a:t> </a:t>
              </a:r>
              <a:r>
                <a:rPr kumimoji="0" lang="en-US" sz="1700" b="0" i="0" u="none" strike="noStrike" kern="1200" cap="none" spc="0" normalizeH="0" baseline="0" noProof="0" dirty="0" err="1">
                  <a:ln>
                    <a:noFill/>
                  </a:ln>
                  <a:solidFill>
                    <a:prstClr val="white"/>
                  </a:solidFill>
                  <a:effectLst/>
                  <a:uLnTx/>
                  <a:uFillTx/>
                  <a:latin typeface="Segoe UI"/>
                  <a:ea typeface="+mn-ea"/>
                  <a:cs typeface="+mn-cs"/>
                </a:rPr>
                <a:t>Apajalahti</a:t>
              </a:r>
              <a:endParaRPr kumimoji="0" lang="en-US" sz="1700" b="0" i="1" u="none" strike="noStrike" kern="1200" cap="none" spc="0" normalizeH="0" baseline="0" noProof="0" dirty="0">
                <a:ln>
                  <a:noFill/>
                </a:ln>
                <a:solidFill>
                  <a:prstClr val="white"/>
                </a:solidFill>
                <a:effectLst/>
                <a:uLnTx/>
                <a:uFillTx/>
                <a:latin typeface="Segoe UI"/>
                <a:ea typeface="+mn-ea"/>
                <a:cs typeface="+mn-cs"/>
              </a:endParaRPr>
            </a:p>
          </p:txBody>
        </p:sp>
        <p:sp>
          <p:nvSpPr>
            <p:cNvPr id="4" name="TextBox 3"/>
            <p:cNvSpPr txBox="1"/>
            <p:nvPr/>
          </p:nvSpPr>
          <p:spPr>
            <a:xfrm>
              <a:off x="293966" y="5561202"/>
              <a:ext cx="4014882" cy="530915"/>
            </a:xfrm>
            <a:prstGeom prst="rect">
              <a:avLst/>
            </a:prstGeom>
            <a:noFill/>
          </p:spPr>
          <p:txBody>
            <a:bodyPr wrap="none" lIns="182880" tIns="146304" rIns="182880" bIns="146304" rtlCol="0" anchor="ctr">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Computer Vision API and Speech API</a:t>
              </a:r>
            </a:p>
          </p:txBody>
        </p:sp>
        <p:sp>
          <p:nvSpPr>
            <p:cNvPr id="5" name="TextBox 4">
              <a:hlinkClick r:id="rId4"/>
            </p:cNvPr>
            <p:cNvSpPr txBox="1"/>
            <p:nvPr/>
          </p:nvSpPr>
          <p:spPr>
            <a:xfrm>
              <a:off x="4544934" y="5653232"/>
              <a:ext cx="1895199" cy="346855"/>
            </a:xfrm>
            <a:prstGeom prst="rect">
              <a:avLst/>
            </a:prstGeom>
            <a:solidFill>
              <a:schemeClr val="accent4"/>
            </a:solidFill>
          </p:spPr>
          <p:txBody>
            <a:bodyPr wrap="none" lIns="182880" tIns="146304" rIns="182880" bIns="146304" rtlCol="0" anchor="ctr">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Read Case Study Here</a:t>
              </a:r>
            </a:p>
          </p:txBody>
        </p:sp>
      </p:grpSp>
      <p:pic>
        <p:nvPicPr>
          <p:cNvPr id="13314" name="Picture 2" descr="ZeroKeyboard"/>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4544934" y="614534"/>
            <a:ext cx="1994156" cy="797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6274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0"/>
          </p:nvPr>
        </p:nvSpPr>
        <p:spPr/>
        <p:txBody>
          <a:bodyPr/>
          <a:lstStyle/>
          <a:p>
            <a:r>
              <a:rPr lang="en-US" dirty="0"/>
              <a:t>Developer Resources</a:t>
            </a:r>
            <a:endParaRPr lang="en-US" sz="5400" dirty="0"/>
          </a:p>
        </p:txBody>
      </p:sp>
      <p:sp>
        <p:nvSpPr>
          <p:cNvPr id="16" name="Content Placeholder 15"/>
          <p:cNvSpPr>
            <a:spLocks noGrp="1"/>
          </p:cNvSpPr>
          <p:nvPr>
            <p:ph sz="quarter" idx="11"/>
          </p:nvPr>
        </p:nvSpPr>
        <p:spPr/>
        <p:txBody>
          <a:bodyPr/>
          <a:lstStyle/>
          <a:p>
            <a:pPr>
              <a:buSzPct val="120000"/>
            </a:pPr>
            <a:r>
              <a:rPr lang="en-US" sz="1600" dirty="0">
                <a:solidFill>
                  <a:schemeClr val="bg1"/>
                </a:solidFill>
              </a:rPr>
              <a:t>	 </a:t>
            </a:r>
          </a:p>
        </p:txBody>
      </p:sp>
      <p:sp>
        <p:nvSpPr>
          <p:cNvPr id="18" name="Content Placeholder 6"/>
          <p:cNvSpPr txBox="1">
            <a:spLocks/>
          </p:cNvSpPr>
          <p:nvPr/>
        </p:nvSpPr>
        <p:spPr>
          <a:xfrm>
            <a:off x="5151437" y="449263"/>
            <a:ext cx="7010401" cy="6096000"/>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Pct val="120000"/>
              <a:buFont typeface="Arial" panose="020B0604020202020204" pitchFamily="34" charset="0"/>
              <a:buNone/>
              <a:tabLst/>
              <a:defRPr/>
            </a:pPr>
            <a:r>
              <a:rPr kumimoji="0" lang="en-US" sz="24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Preview Pricing</a:t>
            </a:r>
          </a:p>
          <a:p>
            <a:pPr marL="457200" marR="0" lvl="1" indent="0" algn="l" defTabSz="914400" rtl="0" eaLnBrk="1" fontAlgn="auto" latinLnBrk="0" hangingPunct="1">
              <a:lnSpc>
                <a:spcPct val="90000"/>
              </a:lnSpc>
              <a:spcBef>
                <a:spcPts val="500"/>
              </a:spcBef>
              <a:spcAft>
                <a:spcPts val="0"/>
              </a:spcAft>
              <a:buClrTx/>
              <a:buSzPct val="120000"/>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Segoe UI"/>
                <a:ea typeface="+mn-ea"/>
                <a:cs typeface="+mn-cs"/>
                <a:hlinkClick r:id="rId3"/>
              </a:rPr>
              <a:t>https://www.microsoft.com/cognitive-services/en-us/pricing</a:t>
            </a:r>
            <a:r>
              <a:rPr kumimoji="0" lang="en-US" sz="1600" b="0" i="0" u="none" strike="noStrike" kern="1200" cap="none" spc="0" normalizeH="0" baseline="0" noProof="0" dirty="0">
                <a:ln>
                  <a:noFill/>
                </a:ln>
                <a:solidFill>
                  <a:prstClr val="white"/>
                </a:solidFill>
                <a:effectLst/>
                <a:uLnTx/>
                <a:uFillTx/>
                <a:latin typeface="Segoe UI"/>
                <a:ea typeface="+mn-ea"/>
                <a:cs typeface="+mn-cs"/>
              </a:rPr>
              <a:t> </a:t>
            </a:r>
          </a:p>
          <a:p>
            <a:pPr marL="0" marR="0" lvl="0" indent="0" algn="l" defTabSz="914400" rtl="0" eaLnBrk="1" fontAlgn="auto" latinLnBrk="0" hangingPunct="1">
              <a:lnSpc>
                <a:spcPct val="90000"/>
              </a:lnSpc>
              <a:spcBef>
                <a:spcPts val="1000"/>
              </a:spcBef>
              <a:spcAft>
                <a:spcPts val="0"/>
              </a:spcAft>
              <a:buClrTx/>
              <a:buSzPct val="120000"/>
              <a:buFont typeface="Arial" panose="020B0604020202020204" pitchFamily="34" charset="0"/>
              <a:buNone/>
              <a:tabLst/>
              <a:defRPr/>
            </a:pPr>
            <a:endParaRPr kumimoji="0" lang="en-US" sz="24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90000"/>
              </a:lnSpc>
              <a:spcBef>
                <a:spcPts val="1000"/>
              </a:spcBef>
              <a:spcAft>
                <a:spcPts val="0"/>
              </a:spcAft>
              <a:buClrTx/>
              <a:buSzPct val="120000"/>
              <a:buFont typeface="Arial" panose="020B0604020202020204" pitchFamily="34" charset="0"/>
              <a:buNone/>
              <a:tabLst/>
              <a:defRPr/>
            </a:pPr>
            <a:r>
              <a:rPr kumimoji="0" lang="en-US" sz="24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Documentation</a:t>
            </a:r>
          </a:p>
          <a:p>
            <a:pPr marL="457200" marR="0" lvl="1" indent="0" algn="l" defTabSz="914400" rtl="0" eaLnBrk="1" fontAlgn="auto" latinLnBrk="0" hangingPunct="1">
              <a:lnSpc>
                <a:spcPct val="90000"/>
              </a:lnSpc>
              <a:spcBef>
                <a:spcPts val="500"/>
              </a:spcBef>
              <a:spcAft>
                <a:spcPts val="0"/>
              </a:spcAft>
              <a:buClrTx/>
              <a:buSzPct val="120000"/>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Segoe UI"/>
                <a:ea typeface="+mn-ea"/>
                <a:cs typeface="+mn-cs"/>
                <a:hlinkClick r:id="rId4"/>
              </a:rPr>
              <a:t>https://www.microsoft.com/cognitive-services/en-us/computer-vision-api/documentation</a:t>
            </a:r>
            <a:r>
              <a:rPr kumimoji="0" lang="en-US" sz="1600" b="0" i="0" u="none" strike="noStrike" kern="1200" cap="none" spc="0" normalizeH="0" baseline="0" noProof="0" dirty="0">
                <a:ln>
                  <a:noFill/>
                </a:ln>
                <a:solidFill>
                  <a:prstClr val="white"/>
                </a:solidFill>
                <a:effectLst/>
                <a:uLnTx/>
                <a:uFillTx/>
                <a:latin typeface="Segoe UI"/>
                <a:ea typeface="+mn-ea"/>
                <a:cs typeface="+mn-cs"/>
              </a:rPr>
              <a:t> </a:t>
            </a: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a:p>
            <a:pPr marL="0" marR="0" lvl="0" indent="0" algn="l" defTabSz="914400" rtl="0" eaLnBrk="1" fontAlgn="auto" latinLnBrk="0" hangingPunct="1">
              <a:lnSpc>
                <a:spcPct val="90000"/>
              </a:lnSpc>
              <a:spcBef>
                <a:spcPts val="1000"/>
              </a:spcBef>
              <a:spcAft>
                <a:spcPts val="0"/>
              </a:spcAft>
              <a:buClrTx/>
              <a:buSzPct val="120000"/>
              <a:buFont typeface="Arial" panose="020B0604020202020204" pitchFamily="34" charset="0"/>
              <a:buNone/>
              <a:tabLst/>
              <a:defRPr/>
            </a:pPr>
            <a:endParaRPr kumimoji="0" lang="en-US" sz="24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auto" latinLnBrk="0" hangingPunct="1">
              <a:lnSpc>
                <a:spcPct val="90000"/>
              </a:lnSpc>
              <a:spcBef>
                <a:spcPts val="1000"/>
              </a:spcBef>
              <a:spcAft>
                <a:spcPts val="0"/>
              </a:spcAft>
              <a:buClrTx/>
              <a:buSzPct val="120000"/>
              <a:buFont typeface="Arial" panose="020B0604020202020204" pitchFamily="34" charset="0"/>
              <a:buNone/>
              <a:tabLst/>
              <a:defRPr/>
            </a:pPr>
            <a:r>
              <a:rPr kumimoji="0" lang="en-US" sz="24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Client SDKs and Samples</a:t>
            </a:r>
          </a:p>
          <a:p>
            <a:pPr marL="457200" marR="0" lvl="1" indent="0" algn="l" defTabSz="914400" rtl="0" eaLnBrk="1" fontAlgn="auto" latinLnBrk="0" hangingPunct="1">
              <a:lnSpc>
                <a:spcPct val="90000"/>
              </a:lnSpc>
              <a:spcBef>
                <a:spcPts val="500"/>
              </a:spcBef>
              <a:spcAft>
                <a:spcPts val="0"/>
              </a:spcAft>
              <a:buClrTx/>
              <a:buSzPct val="120000"/>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Segoe UI"/>
                <a:ea typeface="+mn-ea"/>
                <a:cs typeface="+mn-cs"/>
                <a:hlinkClick r:id="rId5"/>
              </a:rPr>
              <a:t>https://www.microsoft.com/cognitive-services/en-us/sdk-sample</a:t>
            </a:r>
          </a:p>
          <a:p>
            <a:pPr marL="0" marR="0" lvl="0" indent="0" algn="l" defTabSz="914400" rtl="0" eaLnBrk="1" fontAlgn="auto" latinLnBrk="0" hangingPunct="1">
              <a:lnSpc>
                <a:spcPct val="90000"/>
              </a:lnSpc>
              <a:spcBef>
                <a:spcPts val="1000"/>
              </a:spcBef>
              <a:spcAft>
                <a:spcPts val="0"/>
              </a:spcAft>
              <a:buClrTx/>
              <a:buSzPct val="120000"/>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a:t>
            </a:r>
            <a:endParaRPr kumimoji="0" lang="en-US" sz="1600" b="0" i="0" u="none" strike="noStrike" kern="1200" cap="none" spc="0" normalizeH="0" baseline="0" noProof="0" dirty="0">
              <a:ln>
                <a:noFill/>
              </a:ln>
              <a:solidFill>
                <a:prstClr val="white"/>
              </a:solidFill>
              <a:effectLst/>
              <a:uLnTx/>
              <a:uFillTx/>
              <a:latin typeface="Segoe UI"/>
              <a:ea typeface="+mn-ea"/>
              <a:cs typeface="+mn-cs"/>
            </a:endParaRPr>
          </a:p>
          <a:p>
            <a:pPr marL="0" marR="0" lvl="1" indent="0" algn="l" defTabSz="914400" rtl="0" eaLnBrk="1" fontAlgn="auto" latinLnBrk="0" hangingPunct="1">
              <a:lnSpc>
                <a:spcPct val="90000"/>
              </a:lnSpc>
              <a:spcBef>
                <a:spcPts val="1000"/>
              </a:spcBef>
              <a:spcAft>
                <a:spcPts val="0"/>
              </a:spcAft>
              <a:buClrTx/>
              <a:buSzPct val="120000"/>
              <a:buFont typeface="Arial" panose="020B0604020202020204" pitchFamily="34" charset="0"/>
              <a:buNone/>
              <a:tabLst/>
              <a:defRPr/>
            </a:pPr>
            <a:r>
              <a:rPr kumimoji="0" lang="en-US" sz="24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Join Our Community</a:t>
            </a:r>
          </a:p>
          <a:p>
            <a:pPr marL="457200" marR="0" lvl="1" indent="0" algn="l" defTabSz="914400" rtl="0" eaLnBrk="1" fontAlgn="auto" latinLnBrk="0" hangingPunct="1">
              <a:lnSpc>
                <a:spcPct val="90000"/>
              </a:lnSpc>
              <a:spcBef>
                <a:spcPts val="500"/>
              </a:spcBef>
              <a:spcAft>
                <a:spcPts val="0"/>
              </a:spcAft>
              <a:buClrTx/>
              <a:buSzPct val="120000"/>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Segoe UI"/>
                <a:ea typeface="+mn-ea"/>
                <a:cs typeface="+mn-cs"/>
                <a:hlinkClick r:id="rId6"/>
              </a:rPr>
              <a:t>https://stackoverflow.com/questions/tagged/microsoft-cognitive</a:t>
            </a:r>
            <a:endParaRPr kumimoji="0" lang="en-US" sz="1600" b="0" i="0" u="none" strike="noStrike" kern="1200" cap="none" spc="0" normalizeH="0" baseline="0" noProof="0" dirty="0">
              <a:ln>
                <a:noFill/>
              </a:ln>
              <a:solidFill>
                <a:prstClr val="white"/>
              </a:solidFill>
              <a:effectLst/>
              <a:uLnTx/>
              <a:uFillTx/>
              <a:latin typeface="Segoe UI"/>
              <a:ea typeface="+mn-ea"/>
              <a:cs typeface="+mn-cs"/>
            </a:endParaRPr>
          </a:p>
          <a:p>
            <a:pPr marL="457200" marR="0" lvl="1" indent="0" algn="l" defTabSz="914400" rtl="0" eaLnBrk="1" fontAlgn="auto" latinLnBrk="0" hangingPunct="1">
              <a:lnSpc>
                <a:spcPct val="90000"/>
              </a:lnSpc>
              <a:spcBef>
                <a:spcPts val="500"/>
              </a:spcBef>
              <a:spcAft>
                <a:spcPts val="0"/>
              </a:spcAft>
              <a:buClrTx/>
              <a:buSzPct val="120000"/>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Segoe UI"/>
                <a:ea typeface="+mn-ea"/>
                <a:cs typeface="+mn-cs"/>
                <a:hlinkClick r:id="rId7"/>
              </a:rPr>
              <a:t>https://social.msdn.microsoft.com/forums/azure/en-US/home?forum=mlapi</a:t>
            </a:r>
            <a:r>
              <a:rPr kumimoji="0" lang="en-US" sz="1600" b="0" i="0" u="none" strike="noStrike" kern="1200" cap="none" spc="0" normalizeH="0" baseline="0" noProof="0" dirty="0">
                <a:ln>
                  <a:noFill/>
                </a:ln>
                <a:solidFill>
                  <a:prstClr val="white"/>
                </a:solidFill>
                <a:effectLst/>
                <a:uLnTx/>
                <a:uFillTx/>
                <a:latin typeface="Segoe UI"/>
                <a:ea typeface="+mn-ea"/>
                <a:cs typeface="+mn-cs"/>
              </a:rPr>
              <a:t> </a:t>
            </a:r>
          </a:p>
          <a:p>
            <a:pPr marL="457200" marR="0" lvl="1" indent="0" algn="l" defTabSz="914400" rtl="0" eaLnBrk="1" fontAlgn="auto" latinLnBrk="0" hangingPunct="1">
              <a:lnSpc>
                <a:spcPct val="90000"/>
              </a:lnSpc>
              <a:spcBef>
                <a:spcPts val="500"/>
              </a:spcBef>
              <a:spcAft>
                <a:spcPts val="0"/>
              </a:spcAft>
              <a:buClrTx/>
              <a:buSzPct val="120000"/>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Segoe UI"/>
                <a:ea typeface="+mn-ea"/>
                <a:cs typeface="+mn-cs"/>
                <a:hlinkClick r:id="rId8"/>
              </a:rPr>
              <a:t>https://cognitive.uservoice.com/</a:t>
            </a:r>
            <a:endParaRPr kumimoji="0" lang="en-US" sz="16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98629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 calcmode="lin" valueType="num">
                                      <p:cBhvr additive="base">
                                        <p:cTn id="7" dur="500" fill="hold"/>
                                        <p:tgtEl>
                                          <p:spTgt spid="14">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4">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36" y="0"/>
            <a:ext cx="12435840" cy="6994525"/>
          </a:xfrm>
          <a:prstGeom prst="rect">
            <a:avLst/>
          </a:prstGeom>
        </p:spPr>
      </p:pic>
      <p:sp>
        <p:nvSpPr>
          <p:cNvPr id="5" name="Rectangle 4"/>
          <p:cNvSpPr/>
          <p:nvPr/>
        </p:nvSpPr>
        <p:spPr bwMode="auto">
          <a:xfrm>
            <a:off x="655637" y="-18089"/>
            <a:ext cx="6172201" cy="703070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9217" rIns="365760" bIns="149217"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1500"/>
              </a:spcAft>
              <a:buClrTx/>
              <a:buSzTx/>
              <a:buFontTx/>
              <a:buNone/>
              <a:tabLst/>
              <a:defRPr/>
            </a:pPr>
            <a:endParaRPr kumimoji="0" lang="en-US" sz="1600" b="0" i="1" u="none" strike="noStrike" kern="1200" cap="none" spc="0" normalizeH="0" baseline="0" noProof="0" dirty="0">
              <a:ln>
                <a:noFill/>
              </a:ln>
              <a:solidFill>
                <a:prstClr val="white"/>
              </a:solidFill>
              <a:effectLst/>
              <a:uLnTx/>
              <a:uFillTx/>
              <a:latin typeface="Segoe UI"/>
              <a:ea typeface="+mn-ea"/>
              <a:cs typeface="+mn-cs"/>
            </a:endParaRPr>
          </a:p>
        </p:txBody>
      </p:sp>
      <p:sp>
        <p:nvSpPr>
          <p:cNvPr id="6" name="Title 5"/>
          <p:cNvSpPr>
            <a:spLocks noGrp="1"/>
          </p:cNvSpPr>
          <p:nvPr>
            <p:ph type="title" idx="4294967295"/>
          </p:nvPr>
        </p:nvSpPr>
        <p:spPr>
          <a:xfrm>
            <a:off x="884237" y="2585810"/>
            <a:ext cx="5936547" cy="1828800"/>
          </a:xfrm>
        </p:spPr>
        <p:txBody>
          <a:bodyPr>
            <a:noAutofit/>
          </a:bodyPr>
          <a:lstStyle/>
          <a:p>
            <a:r>
              <a:rPr lang="en-US" spc="-100" dirty="0">
                <a:solidFill>
                  <a:schemeClr val="bg1"/>
                </a:solidFill>
              </a:rPr>
              <a:t>Get started for free at microsoft.com/cognitive</a:t>
            </a:r>
          </a:p>
        </p:txBody>
      </p:sp>
    </p:spTree>
    <p:extLst>
      <p:ext uri="{BB962C8B-B14F-4D97-AF65-F5344CB8AC3E}">
        <p14:creationId xmlns:p14="http://schemas.microsoft.com/office/powerpoint/2010/main" val="2396880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ank you</a:t>
            </a:r>
          </a:p>
        </p:txBody>
      </p:sp>
      <p:sp>
        <p:nvSpPr>
          <p:cNvPr id="4" name="Text Placeholder 3"/>
          <p:cNvSpPr>
            <a:spLocks noGrp="1"/>
          </p:cNvSpPr>
          <p:nvPr>
            <p:ph type="body" sz="quarter" idx="12"/>
          </p:nvPr>
        </p:nvSpPr>
        <p:spPr>
          <a:xfrm>
            <a:off x="274638" y="4183062"/>
            <a:ext cx="8229599" cy="2954655"/>
          </a:xfrm>
        </p:spPr>
        <p:txBody>
          <a:bodyPr/>
          <a:lstStyle/>
          <a:p>
            <a:r>
              <a:rPr lang="en-US" dirty="0"/>
              <a:t>Jennifer Marsman</a:t>
            </a:r>
          </a:p>
          <a:p>
            <a:r>
              <a:rPr lang="en-US" dirty="0"/>
              <a:t>Principal Software Development Engineer</a:t>
            </a:r>
          </a:p>
          <a:p>
            <a:r>
              <a:rPr lang="en-US" dirty="0"/>
              <a:t>Microsoft Corporation</a:t>
            </a:r>
          </a:p>
          <a:p>
            <a:r>
              <a:rPr lang="en-US" dirty="0">
                <a:hlinkClick r:id="rId3"/>
              </a:rPr>
              <a:t>http://blogs.msdn.microsoft.com/jennifer</a:t>
            </a:r>
            <a:endParaRPr lang="en-US" dirty="0"/>
          </a:p>
          <a:p>
            <a:r>
              <a:rPr lang="en-US" dirty="0"/>
              <a:t>Twitter: @</a:t>
            </a:r>
            <a:r>
              <a:rPr lang="en-US" dirty="0" err="1"/>
              <a:t>JenniferMarsman</a:t>
            </a:r>
            <a:endParaRPr lang="en-US" dirty="0"/>
          </a:p>
          <a:p>
            <a:endParaRPr lang="en-US" dirty="0"/>
          </a:p>
        </p:txBody>
      </p:sp>
    </p:spTree>
    <p:extLst>
      <p:ext uri="{BB962C8B-B14F-4D97-AF65-F5344CB8AC3E}">
        <p14:creationId xmlns:p14="http://schemas.microsoft.com/office/powerpoint/2010/main" val="2859412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07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grayscl/>
            <a:extLst>
              <a:ext uri="{28A0092B-C50C-407E-A947-70E740481C1C}">
                <a14:useLocalDpi xmlns:a14="http://schemas.microsoft.com/office/drawing/2010/main" val="0"/>
              </a:ext>
            </a:extLst>
          </a:blip>
          <a:srcRect l="16265" t="3005" r="6165" b="1684"/>
          <a:stretch/>
        </p:blipFill>
        <p:spPr>
          <a:xfrm>
            <a:off x="4846833" y="497"/>
            <a:ext cx="7588761" cy="6993533"/>
          </a:xfrm>
          <a:prstGeom prst="rect">
            <a:avLst/>
          </a:prstGeom>
        </p:spPr>
      </p:pic>
      <p:sp>
        <p:nvSpPr>
          <p:cNvPr id="11" name="Rectangle 10"/>
          <p:cNvSpPr/>
          <p:nvPr/>
        </p:nvSpPr>
        <p:spPr bwMode="auto">
          <a:xfrm>
            <a:off x="4839760" y="497"/>
            <a:ext cx="7588761" cy="6994028"/>
          </a:xfrm>
          <a:prstGeom prst="rect">
            <a:avLst/>
          </a:prstGeom>
          <a:gradFill flip="none" rotWithShape="1">
            <a:gsLst>
              <a:gs pos="2917">
                <a:schemeClr val="bg1"/>
              </a:gs>
              <a:gs pos="50000">
                <a:schemeClr val="bg1">
                  <a:alpha val="70000"/>
                </a:schemeClr>
              </a:gs>
              <a:gs pos="76000">
                <a:schemeClr val="bg1">
                  <a:alpha val="50000"/>
                </a:schemeClr>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p:cNvSpPr/>
          <p:nvPr/>
        </p:nvSpPr>
        <p:spPr bwMode="auto">
          <a:xfrm>
            <a:off x="4846833" y="497"/>
            <a:ext cx="7589641" cy="6994028"/>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p:nvSpPr>
        <p:spPr>
          <a:xfrm>
            <a:off x="289468" y="1734472"/>
            <a:ext cx="4557365" cy="3525581"/>
          </a:xfrm>
          <a:prstGeom prst="rect">
            <a:avLst/>
          </a:prstGeom>
        </p:spPr>
        <p:txBody>
          <a:bodyPr wrap="square" anchor="ctr">
            <a:spAutoFit/>
          </a:bodyPr>
          <a:lstStyle/>
          <a:p>
            <a:pPr marL="0" marR="0" lvl="0" indent="0" algn="l" defTabSz="932597" rtl="0" eaLnBrk="1" fontAlgn="auto" latinLnBrk="0" hangingPunct="1">
              <a:lnSpc>
                <a:spcPct val="90000"/>
              </a:lnSpc>
              <a:spcBef>
                <a:spcPts val="0"/>
              </a:spcBef>
              <a:spcAft>
                <a:spcPts val="1500"/>
              </a:spcAft>
              <a:buClrTx/>
              <a:buSzTx/>
              <a:buFontTx/>
              <a:buNone/>
              <a:tabLst/>
              <a:defRPr/>
            </a:pPr>
            <a:r>
              <a:rPr kumimoji="0" lang="en-US" altLang="en-US" sz="5400" b="0" i="0" u="none" strike="noStrike" kern="1200" cap="none" spc="0" normalizeH="0" baseline="0" noProof="0" dirty="0">
                <a:ln>
                  <a:noFill/>
                </a:ln>
                <a:solidFill>
                  <a:srgbClr val="00B294"/>
                </a:solidFill>
                <a:effectLst/>
                <a:uLnTx/>
                <a:uFillTx/>
                <a:latin typeface="Segoe UI Light"/>
                <a:ea typeface="+mn-ea"/>
                <a:cs typeface="+mn-cs"/>
              </a:rPr>
              <a:t>Microsoft Cognitive Services</a:t>
            </a:r>
          </a:p>
          <a:p>
            <a:pPr marL="0" marR="0" lvl="0" indent="0" algn="l" defTabSz="932597" rtl="0" eaLnBrk="1" fontAlgn="auto" latinLnBrk="0" hangingPunct="1">
              <a:lnSpc>
                <a:spcPct val="90000"/>
              </a:lnSpc>
              <a:spcBef>
                <a:spcPts val="0"/>
              </a:spcBef>
              <a:spcAft>
                <a:spcPts val="1500"/>
              </a:spcAft>
              <a:buClrTx/>
              <a:buSzTx/>
              <a:buFontTx/>
              <a:buNone/>
              <a:tabLst/>
              <a:defRPr/>
            </a:pPr>
            <a:r>
              <a:rPr kumimoji="0" lang="en-US" sz="3600" b="0" i="0" u="none" strike="noStrike" kern="1200" cap="none" spc="0" normalizeH="0" baseline="0" noProof="0" dirty="0">
                <a:ln>
                  <a:noFill/>
                </a:ln>
                <a:solidFill>
                  <a:srgbClr val="FF8C00"/>
                </a:solidFill>
                <a:effectLst/>
                <a:uLnTx/>
                <a:uFillTx/>
                <a:latin typeface="Segoe UI Light"/>
                <a:ea typeface="+mn-ea"/>
                <a:cs typeface="+mn-cs"/>
              </a:rPr>
              <a:t>Give your apps </a:t>
            </a:r>
            <a:br>
              <a:rPr kumimoji="0" lang="en-US" sz="3600" b="0" i="0" u="none" strike="noStrike" kern="1200" cap="none" spc="0" normalizeH="0" baseline="0" noProof="0" dirty="0">
                <a:ln>
                  <a:noFill/>
                </a:ln>
                <a:solidFill>
                  <a:srgbClr val="FF8C00"/>
                </a:solidFill>
                <a:effectLst/>
                <a:uLnTx/>
                <a:uFillTx/>
                <a:latin typeface="Segoe UI Light"/>
                <a:ea typeface="+mn-ea"/>
                <a:cs typeface="+mn-cs"/>
              </a:rPr>
            </a:br>
            <a:r>
              <a:rPr kumimoji="0" lang="en-US" sz="3600" b="0" i="0" u="none" strike="noStrike" kern="1200" cap="none" spc="0" normalizeH="0" baseline="0" noProof="0" dirty="0">
                <a:ln>
                  <a:noFill/>
                </a:ln>
                <a:solidFill>
                  <a:srgbClr val="FF8C00"/>
                </a:solidFill>
                <a:effectLst/>
                <a:uLnTx/>
                <a:uFillTx/>
                <a:latin typeface="Segoe UI Light"/>
                <a:ea typeface="+mn-ea"/>
                <a:cs typeface="+mn-cs"/>
              </a:rPr>
              <a:t>a human side</a:t>
            </a:r>
          </a:p>
        </p:txBody>
      </p:sp>
      <p:sp>
        <p:nvSpPr>
          <p:cNvPr id="6" name="TextBox 5"/>
          <p:cNvSpPr txBox="1"/>
          <p:nvPr/>
        </p:nvSpPr>
        <p:spPr>
          <a:xfrm>
            <a:off x="6226550" y="449774"/>
            <a:ext cx="5173287" cy="1236989"/>
          </a:xfrm>
          <a:prstGeom prst="rect">
            <a:avLst/>
          </a:prstGeom>
          <a:noFill/>
        </p:spPr>
        <p:txBody>
          <a:bodyPr wrap="square" lIns="186521" tIns="149217" rIns="186521" bIns="149217" rtlCol="0" anchor="ctr">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Vision</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7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From faces to feelings, allow your </a:t>
            </a:r>
            <a:br>
              <a:rPr kumimoji="0" lang="en-US" sz="17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br>
            <a:r>
              <a:rPr kumimoji="0" lang="en-US" sz="17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pps to understand images and video</a:t>
            </a:r>
          </a:p>
        </p:txBody>
      </p:sp>
      <p:sp>
        <p:nvSpPr>
          <p:cNvPr id="7" name="TextBox 6"/>
          <p:cNvSpPr txBox="1"/>
          <p:nvPr/>
        </p:nvSpPr>
        <p:spPr>
          <a:xfrm>
            <a:off x="6226550" y="1664271"/>
            <a:ext cx="5173287" cy="1236989"/>
          </a:xfrm>
          <a:prstGeom prst="rect">
            <a:avLst/>
          </a:prstGeom>
          <a:noFill/>
        </p:spPr>
        <p:txBody>
          <a:bodyPr wrap="square" lIns="186521" tIns="149217" rIns="186521" bIns="149217" rtlCol="0" anchor="ctr">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peech</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7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Hear and speak to your users by filtering noise, identifying speakers, and understanding intent</a:t>
            </a:r>
          </a:p>
        </p:txBody>
      </p:sp>
      <p:sp>
        <p:nvSpPr>
          <p:cNvPr id="9" name="TextBox 8"/>
          <p:cNvSpPr txBox="1"/>
          <p:nvPr/>
        </p:nvSpPr>
        <p:spPr>
          <a:xfrm>
            <a:off x="6226550" y="4093265"/>
            <a:ext cx="5173287" cy="1236989"/>
          </a:xfrm>
          <a:prstGeom prst="rect">
            <a:avLst/>
          </a:prstGeom>
          <a:noFill/>
        </p:spPr>
        <p:txBody>
          <a:bodyPr wrap="square" lIns="186521" tIns="149217" rIns="186521" bIns="149217" rtlCol="0" anchor="ctr">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Knowledge</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7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Tap into rich knowledge amassed from </a:t>
            </a:r>
            <a:br>
              <a:rPr kumimoji="0" lang="en-US" sz="17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br>
            <a:r>
              <a:rPr kumimoji="0" lang="en-US" sz="17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the web, academia, or your own data</a:t>
            </a:r>
          </a:p>
        </p:txBody>
      </p:sp>
      <p:sp>
        <p:nvSpPr>
          <p:cNvPr id="8" name="TextBox 7"/>
          <p:cNvSpPr txBox="1"/>
          <p:nvPr/>
        </p:nvSpPr>
        <p:spPr>
          <a:xfrm>
            <a:off x="6226550" y="2878768"/>
            <a:ext cx="5173287" cy="1236989"/>
          </a:xfrm>
          <a:prstGeom prst="rect">
            <a:avLst/>
          </a:prstGeom>
          <a:noFill/>
        </p:spPr>
        <p:txBody>
          <a:bodyPr wrap="square" lIns="186521" tIns="149217" rIns="186521" bIns="149217" rtlCol="0" anchor="ctr">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anguage</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7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Process text and learn how to recognize what users want</a:t>
            </a:r>
          </a:p>
        </p:txBody>
      </p:sp>
      <p:sp>
        <p:nvSpPr>
          <p:cNvPr id="10" name="TextBox 9"/>
          <p:cNvSpPr txBox="1"/>
          <p:nvPr/>
        </p:nvSpPr>
        <p:spPr>
          <a:xfrm>
            <a:off x="6226550" y="5307763"/>
            <a:ext cx="5173287" cy="1236989"/>
          </a:xfrm>
          <a:prstGeom prst="rect">
            <a:avLst/>
          </a:prstGeom>
          <a:noFill/>
        </p:spPr>
        <p:txBody>
          <a:bodyPr wrap="square" lIns="186521" tIns="149217" rIns="186521" bIns="149217" rtlCol="0" anchor="ctr">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earch</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7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Access billions of web pages, images, videos, and news with the power of Bing APIs</a:t>
            </a:r>
          </a:p>
        </p:txBody>
      </p:sp>
      <p:sp>
        <p:nvSpPr>
          <p:cNvPr id="27" name="Freeform 22"/>
          <p:cNvSpPr>
            <a:spLocks noChangeAspect="1"/>
          </p:cNvSpPr>
          <p:nvPr/>
        </p:nvSpPr>
        <p:spPr bwMode="auto">
          <a:xfrm>
            <a:off x="5495950" y="621928"/>
            <a:ext cx="674510" cy="446340"/>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18"/>
          <p:cNvSpPr>
            <a:spLocks noChangeAspect="1"/>
          </p:cNvSpPr>
          <p:nvPr/>
        </p:nvSpPr>
        <p:spPr bwMode="auto">
          <a:xfrm>
            <a:off x="5543412" y="1790621"/>
            <a:ext cx="598290" cy="524098"/>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29" name="Freeform 9"/>
          <p:cNvSpPr>
            <a:spLocks noChangeAspect="1"/>
          </p:cNvSpPr>
          <p:nvPr/>
        </p:nvSpPr>
        <p:spPr bwMode="auto">
          <a:xfrm>
            <a:off x="5608964" y="3037072"/>
            <a:ext cx="428643" cy="539009"/>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5"/>
          <p:cNvSpPr>
            <a:spLocks/>
          </p:cNvSpPr>
          <p:nvPr/>
        </p:nvSpPr>
        <p:spPr bwMode="auto">
          <a:xfrm>
            <a:off x="5573532" y="4208730"/>
            <a:ext cx="536910" cy="536910"/>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nvGrpSpPr>
          <p:cNvPr id="31" name="Group 30"/>
          <p:cNvGrpSpPr/>
          <p:nvPr/>
        </p:nvGrpSpPr>
        <p:grpSpPr>
          <a:xfrm>
            <a:off x="5561069" y="5470092"/>
            <a:ext cx="548278" cy="539009"/>
            <a:chOff x="10832823" y="3353836"/>
            <a:chExt cx="537576" cy="528488"/>
          </a:xfrm>
        </p:grpSpPr>
        <p:sp>
          <p:nvSpPr>
            <p:cNvPr id="32"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877661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par>
                                <p:cTn id="15" presetID="10" presetClass="entr" presetSubtype="0" fill="hold" grpId="0" nodeType="withEffect">
                                  <p:stCondLst>
                                    <p:cond delay="75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28"/>
                                        </p:tgtEl>
                                        <p:attrNameLst>
                                          <p:attrName>style.visibility</p:attrName>
                                        </p:attrNameLst>
                                      </p:cBhvr>
                                      <p:to>
                                        <p:strVal val="visible"/>
                                      </p:to>
                                    </p:set>
                                    <p:animEffect transition="in" filter="fade">
                                      <p:cBhvr>
                                        <p:cTn id="20" dur="500"/>
                                        <p:tgtEl>
                                          <p:spTgt spid="28"/>
                                        </p:tgtEl>
                                      </p:cBhvr>
                                    </p:animEffect>
                                  </p:childTnLst>
                                </p:cTn>
                              </p:par>
                              <p:par>
                                <p:cTn id="21" presetID="10" presetClass="entr" presetSubtype="0" fill="hold" grpId="0" nodeType="withEffect">
                                  <p:stCondLst>
                                    <p:cond delay="125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1250"/>
                                  </p:stCondLst>
                                  <p:childTnLst>
                                    <p:set>
                                      <p:cBhvr>
                                        <p:cTn id="25" dur="1" fill="hold">
                                          <p:stCondLst>
                                            <p:cond delay="0"/>
                                          </p:stCondLst>
                                        </p:cTn>
                                        <p:tgtEl>
                                          <p:spTgt spid="29"/>
                                        </p:tgtEl>
                                        <p:attrNameLst>
                                          <p:attrName>style.visibility</p:attrName>
                                        </p:attrNameLst>
                                      </p:cBhvr>
                                      <p:to>
                                        <p:strVal val="visible"/>
                                      </p:to>
                                    </p:set>
                                    <p:animEffect transition="in" filter="fade">
                                      <p:cBhvr>
                                        <p:cTn id="26" dur="500"/>
                                        <p:tgtEl>
                                          <p:spTgt spid="29"/>
                                        </p:tgtEl>
                                      </p:cBhvr>
                                    </p:animEffect>
                                  </p:childTnLst>
                                </p:cTn>
                              </p:par>
                              <p:par>
                                <p:cTn id="27" presetID="10" presetClass="entr" presetSubtype="0" fill="hold" grpId="0" nodeType="withEffect">
                                  <p:stCondLst>
                                    <p:cond delay="175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500"/>
                                        <p:tgtEl>
                                          <p:spTgt spid="9"/>
                                        </p:tgtEl>
                                      </p:cBhvr>
                                    </p:animEffect>
                                  </p:childTnLst>
                                </p:cTn>
                              </p:par>
                              <p:par>
                                <p:cTn id="30" presetID="10" presetClass="entr" presetSubtype="0" fill="hold" grpId="0" nodeType="withEffect">
                                  <p:stCondLst>
                                    <p:cond delay="175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500"/>
                                        <p:tgtEl>
                                          <p:spTgt spid="30"/>
                                        </p:tgtEl>
                                      </p:cBhvr>
                                    </p:animEffect>
                                  </p:childTnLst>
                                </p:cTn>
                              </p:par>
                              <p:par>
                                <p:cTn id="33" presetID="10" presetClass="entr" presetSubtype="0" fill="hold" grpId="0" nodeType="withEffect">
                                  <p:stCondLst>
                                    <p:cond delay="225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10" presetClass="entr" presetSubtype="0" fill="hold" nodeType="withEffect">
                                  <p:stCondLst>
                                    <p:cond delay="225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9" grpId="0"/>
      <p:bldP spid="8" grpId="0"/>
      <p:bldP spid="10" grpId="0"/>
      <p:bldP spid="27" grpId="0" animBg="1"/>
      <p:bldP spid="28" grpId="0" animBg="1"/>
      <p:bldP spid="29" grpId="0" animBg="1"/>
      <p:bldP spid="3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a:srcRect t="32394" b="25873"/>
          <a:stretch/>
        </p:blipFill>
        <p:spPr>
          <a:xfrm>
            <a:off x="-13184" y="0"/>
            <a:ext cx="12448894" cy="3489533"/>
          </a:xfrm>
          <a:prstGeom prst="rect">
            <a:avLst/>
          </a:prstGeom>
        </p:spPr>
      </p:pic>
      <p:sp>
        <p:nvSpPr>
          <p:cNvPr id="39" name="Rectangle 38"/>
          <p:cNvSpPr/>
          <p:nvPr/>
        </p:nvSpPr>
        <p:spPr bwMode="auto">
          <a:xfrm>
            <a:off x="-19357" y="-9225"/>
            <a:ext cx="8523593" cy="3500896"/>
          </a:xfrm>
          <a:prstGeom prst="rect">
            <a:avLst/>
          </a:prstGeom>
          <a:gradFill>
            <a:gsLst>
              <a:gs pos="0">
                <a:schemeClr val="tx2">
                  <a:alpha val="0"/>
                </a:schemeClr>
              </a:gs>
              <a:gs pos="100000">
                <a:schemeClr val="tx2"/>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Text Placeholder 14"/>
          <p:cNvSpPr txBox="1">
            <a:spLocks/>
          </p:cNvSpPr>
          <p:nvPr/>
        </p:nvSpPr>
        <p:spPr>
          <a:xfrm>
            <a:off x="293887" y="3825469"/>
            <a:ext cx="3745515" cy="1044875"/>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Font typeface="Arial" pitchFamily="34" charset="0"/>
              <a:buNone/>
            </a:pPr>
            <a:r>
              <a:rPr lang="en-US" sz="1700" dirty="0">
                <a:solidFill>
                  <a:srgbClr val="505050"/>
                </a:solidFill>
                <a:latin typeface="Segoe UI"/>
                <a:cs typeface="Segoe UI Semilight" panose="020B0402040204020203" pitchFamily="34" charset="0"/>
              </a:rPr>
              <a:t>Roll your own with REST APIs</a:t>
            </a:r>
          </a:p>
          <a:p>
            <a:pPr marL="0" indent="0">
              <a:spcBef>
                <a:spcPts val="600"/>
              </a:spcBef>
              <a:spcAft>
                <a:spcPts val="600"/>
              </a:spcAft>
              <a:buFont typeface="Arial" pitchFamily="34" charset="0"/>
              <a:buNone/>
            </a:pPr>
            <a:r>
              <a:rPr lang="en-US" sz="1700" dirty="0">
                <a:solidFill>
                  <a:srgbClr val="505050"/>
                </a:solidFill>
                <a:latin typeface="Segoe UI"/>
                <a:cs typeface="Segoe UI Semilight" panose="020B0402040204020203" pitchFamily="34" charset="0"/>
              </a:rPr>
              <a:t>Simple to add: just a few lines of code required</a:t>
            </a:r>
          </a:p>
        </p:txBody>
      </p:sp>
      <p:sp>
        <p:nvSpPr>
          <p:cNvPr id="32" name="Text Placeholder 14"/>
          <p:cNvSpPr txBox="1">
            <a:spLocks/>
          </p:cNvSpPr>
          <p:nvPr/>
        </p:nvSpPr>
        <p:spPr>
          <a:xfrm>
            <a:off x="4187147" y="3825469"/>
            <a:ext cx="4050792" cy="1280324"/>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Font typeface="Arial" pitchFamily="34" charset="0"/>
              <a:buNone/>
            </a:pPr>
            <a:r>
              <a:rPr lang="en-US" sz="1700" dirty="0">
                <a:solidFill>
                  <a:srgbClr val="505050"/>
                </a:solidFill>
                <a:latin typeface="Segoe UI"/>
                <a:cs typeface="Segoe UI Semilight" panose="020B0402040204020203" pitchFamily="34" charset="0"/>
              </a:rPr>
              <a:t>Integrate into the language and platform of your choice</a:t>
            </a:r>
          </a:p>
          <a:p>
            <a:pPr marL="0" indent="0">
              <a:spcBef>
                <a:spcPts val="600"/>
              </a:spcBef>
              <a:spcAft>
                <a:spcPts val="600"/>
              </a:spcAft>
              <a:buFont typeface="Arial" pitchFamily="34" charset="0"/>
              <a:buNone/>
            </a:pPr>
            <a:r>
              <a:rPr lang="en-US" sz="1700" dirty="0">
                <a:solidFill>
                  <a:srgbClr val="505050"/>
                </a:solidFill>
                <a:latin typeface="Segoe UI"/>
                <a:cs typeface="Segoe UI Semilight" panose="020B0402040204020203" pitchFamily="34" charset="0"/>
              </a:rPr>
              <a:t>Breadth of offerings helps you find the right API for your app</a:t>
            </a:r>
          </a:p>
        </p:txBody>
      </p:sp>
      <p:sp>
        <p:nvSpPr>
          <p:cNvPr id="33" name="Text Placeholder 14"/>
          <p:cNvSpPr txBox="1">
            <a:spLocks/>
          </p:cNvSpPr>
          <p:nvPr/>
        </p:nvSpPr>
        <p:spPr>
          <a:xfrm>
            <a:off x="8385684" y="3825469"/>
            <a:ext cx="3785780" cy="1515773"/>
          </a:xfrm>
          <a:prstGeom prst="rect">
            <a:avLst/>
          </a:prstGeom>
        </p:spPr>
        <p:txBody>
          <a:bodyPr vert="horz" wrap="square" lIns="146283" tIns="91427" rIns="146283" bIns="91427" rtlCol="0" anchor="t">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Font typeface="Arial" pitchFamily="34" charset="0"/>
              <a:buNone/>
            </a:pPr>
            <a:r>
              <a:rPr lang="en-US" sz="1700" dirty="0">
                <a:solidFill>
                  <a:srgbClr val="505050"/>
                </a:solidFill>
                <a:latin typeface="Segoe UI"/>
                <a:cs typeface="Segoe UI Semilight" panose="020B0402040204020203" pitchFamily="34" charset="0"/>
              </a:rPr>
              <a:t>Built by experts in their field from Microsoft Research, Bing, and Azure Machine Learning</a:t>
            </a:r>
          </a:p>
          <a:p>
            <a:pPr marL="0" indent="0">
              <a:spcBef>
                <a:spcPts val="600"/>
              </a:spcBef>
              <a:spcAft>
                <a:spcPts val="600"/>
              </a:spcAft>
              <a:buFont typeface="Arial" pitchFamily="34" charset="0"/>
              <a:buNone/>
            </a:pPr>
            <a:r>
              <a:rPr lang="en-US" sz="1700" dirty="0">
                <a:solidFill>
                  <a:srgbClr val="505050"/>
                </a:solidFill>
                <a:latin typeface="Segoe UI"/>
                <a:cs typeface="Segoe UI Semilight" panose="020B0402040204020203" pitchFamily="34" charset="0"/>
              </a:rPr>
              <a:t>Quality documentation, sample code, and community support</a:t>
            </a:r>
          </a:p>
        </p:txBody>
      </p:sp>
      <p:sp>
        <p:nvSpPr>
          <p:cNvPr id="8" name="TextBox 7"/>
          <p:cNvSpPr txBox="1"/>
          <p:nvPr/>
        </p:nvSpPr>
        <p:spPr>
          <a:xfrm>
            <a:off x="-2110" y="3240815"/>
            <a:ext cx="4050792" cy="461665"/>
          </a:xfrm>
          <a:prstGeom prst="rect">
            <a:avLst/>
          </a:prstGeom>
          <a:solidFill>
            <a:schemeClr val="accent3"/>
          </a:solidFill>
        </p:spPr>
        <p:txBody>
          <a:bodyPr wrap="none" rtlCol="0" anchor="ctr">
            <a:spAutoFit/>
          </a:bodyPr>
          <a:lstStyle/>
          <a:p>
            <a:pPr algn="ctr" defTabSz="932597"/>
            <a:r>
              <a:rPr lang="en-US" sz="2400" dirty="0">
                <a:solidFill>
                  <a:srgbClr val="FFFFFF"/>
                </a:solidFill>
                <a:latin typeface="Segoe UI Light"/>
                <a:cs typeface="Segoe UI Semilight" panose="020B0402040204020203" pitchFamily="34" charset="0"/>
              </a:rPr>
              <a:t>Easy</a:t>
            </a:r>
          </a:p>
        </p:txBody>
      </p:sp>
      <p:sp>
        <p:nvSpPr>
          <p:cNvPr id="26" name="TextBox 25"/>
          <p:cNvSpPr txBox="1"/>
          <p:nvPr/>
        </p:nvSpPr>
        <p:spPr>
          <a:xfrm>
            <a:off x="4191787" y="3240815"/>
            <a:ext cx="4050792" cy="461665"/>
          </a:xfrm>
          <a:prstGeom prst="rect">
            <a:avLst/>
          </a:prstGeom>
          <a:solidFill>
            <a:schemeClr val="accent1"/>
          </a:solidFill>
        </p:spPr>
        <p:txBody>
          <a:bodyPr wrap="none" rtlCol="0" anchor="ctr">
            <a:spAutoFit/>
          </a:bodyPr>
          <a:lstStyle/>
          <a:p>
            <a:pPr algn="ctr" defTabSz="932597"/>
            <a:r>
              <a:rPr lang="en-US" sz="2400" dirty="0">
                <a:solidFill>
                  <a:srgbClr val="FFFFFF"/>
                </a:solidFill>
                <a:latin typeface="Segoe UI Light"/>
                <a:cs typeface="Segoe UI Semilight" panose="020B0402040204020203" pitchFamily="34" charset="0"/>
              </a:rPr>
              <a:t>Flexible</a:t>
            </a:r>
          </a:p>
        </p:txBody>
      </p:sp>
      <p:sp>
        <p:nvSpPr>
          <p:cNvPr id="27" name="TextBox 26"/>
          <p:cNvSpPr txBox="1"/>
          <p:nvPr/>
        </p:nvSpPr>
        <p:spPr>
          <a:xfrm>
            <a:off x="8385684" y="3240815"/>
            <a:ext cx="4050792" cy="461665"/>
          </a:xfrm>
          <a:prstGeom prst="rect">
            <a:avLst/>
          </a:prstGeom>
          <a:solidFill>
            <a:schemeClr val="accent5"/>
          </a:solidFill>
        </p:spPr>
        <p:txBody>
          <a:bodyPr wrap="none" rtlCol="0" anchor="ctr">
            <a:spAutoFit/>
          </a:bodyPr>
          <a:lstStyle/>
          <a:p>
            <a:pPr algn="ctr" defTabSz="932597"/>
            <a:r>
              <a:rPr lang="en-US" sz="2400" dirty="0">
                <a:solidFill>
                  <a:srgbClr val="FFFFFF"/>
                </a:solidFill>
                <a:latin typeface="Segoe UI Light"/>
                <a:cs typeface="Segoe UI Semilight" panose="020B0402040204020203" pitchFamily="34" charset="0"/>
              </a:rPr>
              <a:t>Tested</a:t>
            </a:r>
          </a:p>
        </p:txBody>
      </p:sp>
      <p:sp>
        <p:nvSpPr>
          <p:cNvPr id="2" name="Title 1"/>
          <p:cNvSpPr>
            <a:spLocks noGrp="1"/>
          </p:cNvSpPr>
          <p:nvPr>
            <p:ph type="title" idx="4294967295"/>
          </p:nvPr>
        </p:nvSpPr>
        <p:spPr>
          <a:xfrm>
            <a:off x="293887" y="1415701"/>
            <a:ext cx="11867951" cy="917575"/>
          </a:xfrm>
        </p:spPr>
        <p:txBody>
          <a:bodyPr>
            <a:noAutofit/>
          </a:bodyPr>
          <a:lstStyle/>
          <a:p>
            <a:r>
              <a:rPr lang="en-US" sz="5400" dirty="0">
                <a:gradFill>
                  <a:gsLst>
                    <a:gs pos="1250">
                      <a:schemeClr val="bg1"/>
                    </a:gs>
                    <a:gs pos="100000">
                      <a:schemeClr val="bg1"/>
                    </a:gs>
                  </a:gsLst>
                  <a:lin ang="5400000" scaled="0"/>
                </a:gradFill>
              </a:rPr>
              <a:t>Why Microsoft </a:t>
            </a:r>
            <a:br>
              <a:rPr lang="en-US" sz="5400" dirty="0">
                <a:gradFill>
                  <a:gsLst>
                    <a:gs pos="1250">
                      <a:schemeClr val="bg1"/>
                    </a:gs>
                    <a:gs pos="100000">
                      <a:schemeClr val="bg1"/>
                    </a:gs>
                  </a:gsLst>
                  <a:lin ang="5400000" scaled="0"/>
                </a:gradFill>
              </a:rPr>
            </a:br>
            <a:r>
              <a:rPr lang="en-US" sz="5400" dirty="0">
                <a:gradFill>
                  <a:gsLst>
                    <a:gs pos="1250">
                      <a:schemeClr val="bg1"/>
                    </a:gs>
                    <a:gs pos="100000">
                      <a:schemeClr val="bg1"/>
                    </a:gs>
                  </a:gsLst>
                  <a:lin ang="5400000" scaled="0"/>
                </a:gradFill>
              </a:rPr>
              <a:t>Cognitive Services?</a:t>
            </a:r>
          </a:p>
        </p:txBody>
      </p:sp>
      <p:grpSp>
        <p:nvGrpSpPr>
          <p:cNvPr id="9" name="Group 8"/>
          <p:cNvGrpSpPr/>
          <p:nvPr/>
        </p:nvGrpSpPr>
        <p:grpSpPr>
          <a:xfrm>
            <a:off x="952844" y="5316420"/>
            <a:ext cx="2001768" cy="1350348"/>
            <a:chOff x="952844" y="5316420"/>
            <a:chExt cx="2001768" cy="1350348"/>
          </a:xfrm>
        </p:grpSpPr>
        <p:grpSp>
          <p:nvGrpSpPr>
            <p:cNvPr id="7" name="Group 6"/>
            <p:cNvGrpSpPr/>
            <p:nvPr/>
          </p:nvGrpSpPr>
          <p:grpSpPr>
            <a:xfrm>
              <a:off x="952844" y="5316420"/>
              <a:ext cx="1091279" cy="1091279"/>
              <a:chOff x="952844" y="5316420"/>
              <a:chExt cx="1091279" cy="1091279"/>
            </a:xfrm>
          </p:grpSpPr>
          <p:pic>
            <p:nvPicPr>
              <p:cNvPr id="3" name="Picture 2"/>
              <p:cNvPicPr>
                <a:picLocks noChangeAspect="1"/>
              </p:cNvPicPr>
              <p:nvPr/>
            </p:nvPicPr>
            <p:blipFill>
              <a:blip r:embed="rId4"/>
              <a:stretch>
                <a:fillRect/>
              </a:stretch>
            </p:blipFill>
            <p:spPr>
              <a:xfrm>
                <a:off x="952844" y="5316420"/>
                <a:ext cx="1091279" cy="1091279"/>
              </a:xfrm>
              <a:prstGeom prst="rect">
                <a:avLst/>
              </a:prstGeom>
            </p:spPr>
          </p:pic>
          <p:sp>
            <p:nvSpPr>
              <p:cNvPr id="23" name="TextBox 22"/>
              <p:cNvSpPr txBox="1"/>
              <p:nvPr/>
            </p:nvSpPr>
            <p:spPr>
              <a:xfrm>
                <a:off x="985751" y="5633096"/>
                <a:ext cx="999265" cy="462305"/>
              </a:xfrm>
              <a:prstGeom prst="rect">
                <a:avLst/>
              </a:prstGeom>
              <a:noFill/>
            </p:spPr>
            <p:txBody>
              <a:bodyPr wrap="square" lIns="186521" tIns="149217" rIns="186521" bIns="149217" rtlCol="0" anchor="ctr">
                <a:spAutoFit/>
              </a:bodyPr>
              <a:lstStyle/>
              <a:p>
                <a:pPr algn="ctr" defTabSz="932597">
                  <a:lnSpc>
                    <a:spcPct val="90000"/>
                  </a:lnSpc>
                  <a:spcAft>
                    <a:spcPts val="612"/>
                  </a:spcAft>
                </a:pPr>
                <a:r>
                  <a:rPr lang="en-US" sz="1600" b="1" dirty="0">
                    <a:solidFill>
                      <a:prstClr val="white"/>
                    </a:solidFill>
                    <a:latin typeface="Segoe UI Semibold" panose="020B0702040204020203" pitchFamily="34" charset="0"/>
                    <a:cs typeface="Segoe UI Semibold" panose="020B0702040204020203" pitchFamily="34" charset="0"/>
                  </a:rPr>
                  <a:t>GET A</a:t>
                </a:r>
                <a:br>
                  <a:rPr lang="en-US" sz="1600" b="1" dirty="0">
                    <a:solidFill>
                      <a:prstClr val="white"/>
                    </a:solidFill>
                    <a:latin typeface="Segoe UI Semibold" panose="020B0702040204020203" pitchFamily="34" charset="0"/>
                    <a:cs typeface="Segoe UI Semibold" panose="020B0702040204020203" pitchFamily="34" charset="0"/>
                  </a:rPr>
                </a:br>
                <a:r>
                  <a:rPr lang="en-US" sz="1600" b="1" dirty="0">
                    <a:solidFill>
                      <a:prstClr val="white"/>
                    </a:solidFill>
                    <a:latin typeface="Segoe UI Semibold" panose="020B0702040204020203" pitchFamily="34" charset="0"/>
                    <a:cs typeface="Segoe UI Semibold" panose="020B0702040204020203" pitchFamily="34" charset="0"/>
                  </a:rPr>
                  <a:t> KEY</a:t>
                </a:r>
              </a:p>
            </p:txBody>
          </p:sp>
        </p:grpSp>
        <p:grpSp>
          <p:nvGrpSpPr>
            <p:cNvPr id="6" name="Group 5"/>
            <p:cNvGrpSpPr/>
            <p:nvPr/>
          </p:nvGrpSpPr>
          <p:grpSpPr>
            <a:xfrm>
              <a:off x="1954781" y="5666937"/>
              <a:ext cx="999831" cy="999831"/>
              <a:chOff x="1954781" y="5666937"/>
              <a:chExt cx="999831" cy="999831"/>
            </a:xfrm>
          </p:grpSpPr>
          <p:pic>
            <p:nvPicPr>
              <p:cNvPr id="5" name="Picture 4"/>
              <p:cNvPicPr>
                <a:picLocks noChangeAspect="1"/>
              </p:cNvPicPr>
              <p:nvPr/>
            </p:nvPicPr>
            <p:blipFill>
              <a:blip r:embed="rId5"/>
              <a:stretch>
                <a:fillRect/>
              </a:stretch>
            </p:blipFill>
            <p:spPr>
              <a:xfrm>
                <a:off x="1954781" y="5666937"/>
                <a:ext cx="999831" cy="999831"/>
              </a:xfrm>
              <a:prstGeom prst="rect">
                <a:avLst/>
              </a:prstGeom>
            </p:spPr>
          </p:pic>
          <p:sp>
            <p:nvSpPr>
              <p:cNvPr id="53" name="TextBox 52"/>
              <p:cNvSpPr txBox="1"/>
              <p:nvPr/>
            </p:nvSpPr>
            <p:spPr>
              <a:xfrm>
                <a:off x="1965665" y="6006123"/>
                <a:ext cx="961798" cy="324709"/>
              </a:xfrm>
              <a:prstGeom prst="rect">
                <a:avLst/>
              </a:prstGeom>
              <a:noFill/>
            </p:spPr>
            <p:txBody>
              <a:bodyPr wrap="square" lIns="186521" tIns="149217" rIns="186521" bIns="149217" rtlCol="0" anchor="ctr">
                <a:spAutoFit/>
              </a:bodyPr>
              <a:lstStyle/>
              <a:p>
                <a:pPr algn="ctr" defTabSz="932597">
                  <a:lnSpc>
                    <a:spcPct val="90000"/>
                  </a:lnSpc>
                  <a:spcAft>
                    <a:spcPts val="612"/>
                  </a:spcAft>
                </a:pPr>
                <a:r>
                  <a:rPr lang="en-US" sz="1600"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BUILD</a:t>
                </a:r>
              </a:p>
            </p:txBody>
          </p:sp>
        </p:grpSp>
      </p:grpSp>
      <p:grpSp>
        <p:nvGrpSpPr>
          <p:cNvPr id="34" name="Group 33"/>
          <p:cNvGrpSpPr/>
          <p:nvPr/>
        </p:nvGrpSpPr>
        <p:grpSpPr>
          <a:xfrm>
            <a:off x="4707240" y="5621592"/>
            <a:ext cx="3021994" cy="1129445"/>
            <a:chOff x="4707240" y="5484107"/>
            <a:chExt cx="3021994" cy="1129445"/>
          </a:xfrm>
        </p:grpSpPr>
        <p:sp>
          <p:nvSpPr>
            <p:cNvPr id="44" name="Freeform 11"/>
            <p:cNvSpPr>
              <a:spLocks noEditPoints="1"/>
            </p:cNvSpPr>
            <p:nvPr/>
          </p:nvSpPr>
          <p:spPr bwMode="black">
            <a:xfrm>
              <a:off x="5992058" y="5484107"/>
              <a:ext cx="409932" cy="504698"/>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92D050"/>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48" name="Freeform 47"/>
            <p:cNvSpPr>
              <a:spLocks noChangeAspect="1" noEditPoints="1"/>
            </p:cNvSpPr>
            <p:nvPr/>
          </p:nvSpPr>
          <p:spPr bwMode="black">
            <a:xfrm>
              <a:off x="4933693" y="5545084"/>
              <a:ext cx="384308" cy="38274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grpSp>
          <p:nvGrpSpPr>
            <p:cNvPr id="49" name="Group 48"/>
            <p:cNvGrpSpPr>
              <a:grpSpLocks noChangeAspect="1"/>
            </p:cNvGrpSpPr>
            <p:nvPr/>
          </p:nvGrpSpPr>
          <p:grpSpPr bwMode="black">
            <a:xfrm>
              <a:off x="7076047" y="5487529"/>
              <a:ext cx="426734" cy="497854"/>
              <a:chOff x="396875" y="1300163"/>
              <a:chExt cx="1162051" cy="1355725"/>
            </a:xfrm>
          </p:grpSpPr>
          <p:sp>
            <p:nvSpPr>
              <p:cNvPr id="50" name="Freeform 49"/>
              <p:cNvSpPr>
                <a:spLocks/>
              </p:cNvSpPr>
              <p:nvPr/>
            </p:nvSpPr>
            <p:spPr bwMode="black">
              <a:xfrm>
                <a:off x="396875" y="1616075"/>
                <a:ext cx="1162051" cy="1039813"/>
              </a:xfrm>
              <a:custGeom>
                <a:avLst/>
                <a:gdLst>
                  <a:gd name="T0" fmla="*/ 455 w 539"/>
                  <a:gd name="T1" fmla="*/ 186 h 482"/>
                  <a:gd name="T2" fmla="*/ 522 w 539"/>
                  <a:gd name="T3" fmla="*/ 67 h 482"/>
                  <a:gd name="T4" fmla="*/ 408 w 539"/>
                  <a:gd name="T5" fmla="*/ 5 h 482"/>
                  <a:gd name="T6" fmla="*/ 288 w 539"/>
                  <a:gd name="T7" fmla="*/ 34 h 482"/>
                  <a:gd name="T8" fmla="*/ 184 w 539"/>
                  <a:gd name="T9" fmla="*/ 7 h 482"/>
                  <a:gd name="T10" fmla="*/ 55 w 539"/>
                  <a:gd name="T11" fmla="*/ 86 h 482"/>
                  <a:gd name="T12" fmla="*/ 95 w 539"/>
                  <a:gd name="T13" fmla="*/ 401 h 482"/>
                  <a:gd name="T14" fmla="*/ 194 w 539"/>
                  <a:gd name="T15" fmla="*/ 480 h 482"/>
                  <a:gd name="T16" fmla="*/ 296 w 539"/>
                  <a:gd name="T17" fmla="*/ 455 h 482"/>
                  <a:gd name="T18" fmla="*/ 400 w 539"/>
                  <a:gd name="T19" fmla="*/ 479 h 482"/>
                  <a:gd name="T20" fmla="*/ 496 w 539"/>
                  <a:gd name="T21" fmla="*/ 402 h 482"/>
                  <a:gd name="T22" fmla="*/ 539 w 539"/>
                  <a:gd name="T23" fmla="*/ 313 h 482"/>
                  <a:gd name="T24" fmla="*/ 455 w 539"/>
                  <a:gd name="T25" fmla="*/ 186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482">
                    <a:moveTo>
                      <a:pt x="455" y="186"/>
                    </a:moveTo>
                    <a:cubicBezTo>
                      <a:pt x="454" y="107"/>
                      <a:pt x="519" y="69"/>
                      <a:pt x="522" y="67"/>
                    </a:cubicBezTo>
                    <a:cubicBezTo>
                      <a:pt x="485" y="13"/>
                      <a:pt x="428" y="6"/>
                      <a:pt x="408" y="5"/>
                    </a:cubicBezTo>
                    <a:cubicBezTo>
                      <a:pt x="359" y="0"/>
                      <a:pt x="312" y="34"/>
                      <a:pt x="288" y="34"/>
                    </a:cubicBezTo>
                    <a:cubicBezTo>
                      <a:pt x="263" y="34"/>
                      <a:pt x="225" y="6"/>
                      <a:pt x="184" y="7"/>
                    </a:cubicBezTo>
                    <a:cubicBezTo>
                      <a:pt x="131" y="8"/>
                      <a:pt x="82" y="38"/>
                      <a:pt x="55" y="86"/>
                    </a:cubicBezTo>
                    <a:cubicBezTo>
                      <a:pt x="0" y="182"/>
                      <a:pt x="41" y="323"/>
                      <a:pt x="95" y="401"/>
                    </a:cubicBezTo>
                    <a:cubicBezTo>
                      <a:pt x="121" y="439"/>
                      <a:pt x="153" y="482"/>
                      <a:pt x="194" y="480"/>
                    </a:cubicBezTo>
                    <a:cubicBezTo>
                      <a:pt x="234" y="479"/>
                      <a:pt x="248" y="455"/>
                      <a:pt x="296" y="455"/>
                    </a:cubicBezTo>
                    <a:cubicBezTo>
                      <a:pt x="344" y="454"/>
                      <a:pt x="358" y="480"/>
                      <a:pt x="400" y="479"/>
                    </a:cubicBezTo>
                    <a:cubicBezTo>
                      <a:pt x="443" y="478"/>
                      <a:pt x="470" y="440"/>
                      <a:pt x="496" y="402"/>
                    </a:cubicBezTo>
                    <a:cubicBezTo>
                      <a:pt x="526" y="358"/>
                      <a:pt x="538" y="315"/>
                      <a:pt x="539" y="313"/>
                    </a:cubicBezTo>
                    <a:cubicBezTo>
                      <a:pt x="538" y="313"/>
                      <a:pt x="456" y="281"/>
                      <a:pt x="455" y="186"/>
                    </a:cubicBezTo>
                  </a:path>
                </a:pathLst>
              </a:custGeom>
              <a:solidFill>
                <a:schemeClr val="accent6"/>
              </a:solidFill>
              <a:ln>
                <a:noFill/>
              </a:ln>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51" name="Freeform 50"/>
              <p:cNvSpPr>
                <a:spLocks/>
              </p:cNvSpPr>
              <p:nvPr/>
            </p:nvSpPr>
            <p:spPr bwMode="black">
              <a:xfrm>
                <a:off x="996950" y="1300163"/>
                <a:ext cx="288925" cy="317500"/>
              </a:xfrm>
              <a:custGeom>
                <a:avLst/>
                <a:gdLst>
                  <a:gd name="T0" fmla="*/ 98 w 134"/>
                  <a:gd name="T1" fmla="*/ 100 h 147"/>
                  <a:gd name="T2" fmla="*/ 130 w 134"/>
                  <a:gd name="T3" fmla="*/ 0 h 147"/>
                  <a:gd name="T4" fmla="*/ 38 w 134"/>
                  <a:gd name="T5" fmla="*/ 47 h 147"/>
                  <a:gd name="T6" fmla="*/ 5 w 134"/>
                  <a:gd name="T7" fmla="*/ 144 h 147"/>
                  <a:gd name="T8" fmla="*/ 98 w 134"/>
                  <a:gd name="T9" fmla="*/ 100 h 147"/>
                </a:gdLst>
                <a:ahLst/>
                <a:cxnLst>
                  <a:cxn ang="0">
                    <a:pos x="T0" y="T1"/>
                  </a:cxn>
                  <a:cxn ang="0">
                    <a:pos x="T2" y="T3"/>
                  </a:cxn>
                  <a:cxn ang="0">
                    <a:pos x="T4" y="T5"/>
                  </a:cxn>
                  <a:cxn ang="0">
                    <a:pos x="T6" y="T7"/>
                  </a:cxn>
                  <a:cxn ang="0">
                    <a:pos x="T8" y="T9"/>
                  </a:cxn>
                </a:cxnLst>
                <a:rect l="0" t="0" r="r" b="b"/>
                <a:pathLst>
                  <a:path w="134" h="147">
                    <a:moveTo>
                      <a:pt x="98" y="100"/>
                    </a:moveTo>
                    <a:cubicBezTo>
                      <a:pt x="120" y="73"/>
                      <a:pt x="134" y="36"/>
                      <a:pt x="130" y="0"/>
                    </a:cubicBezTo>
                    <a:cubicBezTo>
                      <a:pt x="99" y="1"/>
                      <a:pt x="61" y="21"/>
                      <a:pt x="38" y="47"/>
                    </a:cubicBezTo>
                    <a:cubicBezTo>
                      <a:pt x="18" y="71"/>
                      <a:pt x="0" y="108"/>
                      <a:pt x="5" y="144"/>
                    </a:cubicBezTo>
                    <a:cubicBezTo>
                      <a:pt x="40" y="147"/>
                      <a:pt x="76" y="126"/>
                      <a:pt x="98" y="100"/>
                    </a:cubicBezTo>
                  </a:path>
                </a:pathLst>
              </a:custGeom>
              <a:solidFill>
                <a:schemeClr val="accent6"/>
              </a:solidFill>
              <a:ln>
                <a:noFill/>
              </a:ln>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grpSp>
        <p:pic>
          <p:nvPicPr>
            <p:cNvPr id="2050" name="Picture 2" descr="http://iran-python.ir/images/python_logo.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4707240" y="6217447"/>
              <a:ext cx="1364974" cy="39610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mean.io/system/assets/img/logos/nodejs.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500073" y="6153593"/>
              <a:ext cx="1229161" cy="33033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8504237" y="5652914"/>
            <a:ext cx="3605625" cy="1066801"/>
            <a:chOff x="8565839" y="5478462"/>
            <a:chExt cx="3605625" cy="1066801"/>
          </a:xfrm>
        </p:grpSpPr>
        <p:pic>
          <p:nvPicPr>
            <p:cNvPr id="13" name="Picture 12"/>
            <p:cNvPicPr>
              <a:picLocks noChangeAspect="1"/>
            </p:cNvPicPr>
            <p:nvPr/>
          </p:nvPicPr>
          <p:blipFill>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9335914" y="5606307"/>
              <a:ext cx="941121" cy="385860"/>
            </a:xfrm>
            <a:prstGeom prst="rect">
              <a:avLst/>
            </a:prstGeom>
            <a:noFill/>
          </p:spPr>
        </p:pic>
        <p:pic>
          <p:nvPicPr>
            <p:cNvPr id="2056" name="Picture 8" descr="http://social.technet.microsoft.com/wiki/resized-image.ashx/__size/550x0/__key/communityserver-wikis-components-files/00-00-00-00-05/7206.Msdn_5F00_logo.png"/>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8565839" y="6012235"/>
              <a:ext cx="1470798" cy="449262"/>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s://upload.wikimedia.org/wikipedia/en/d/d3/UserVoice_logo.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175778" y="6063102"/>
              <a:ext cx="1946070" cy="482161"/>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http://i.imgur.com/pszAeGh.png"/>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10469757" y="5478462"/>
              <a:ext cx="1701707" cy="42708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0551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500"/>
                                        <p:tgtEl>
                                          <p:spTgt spid="31"/>
                                        </p:tgtEl>
                                      </p:cBhvr>
                                    </p:animEffect>
                                  </p:childTnLst>
                                </p:cTn>
                              </p:par>
                              <p:par>
                                <p:cTn id="12" presetID="2" presetClass="entr" presetSubtype="4" fill="hold" nodeType="withEffect">
                                  <p:stCondLst>
                                    <p:cond delay="50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300" fill="hold"/>
                                        <p:tgtEl>
                                          <p:spTgt spid="9"/>
                                        </p:tgtEl>
                                        <p:attrNameLst>
                                          <p:attrName>ppt_x</p:attrName>
                                        </p:attrNameLst>
                                      </p:cBhvr>
                                      <p:tavLst>
                                        <p:tav tm="0">
                                          <p:val>
                                            <p:strVal val="#ppt_x"/>
                                          </p:val>
                                        </p:tav>
                                        <p:tav tm="100000">
                                          <p:val>
                                            <p:strVal val="#ppt_x"/>
                                          </p:val>
                                        </p:tav>
                                      </p:tavLst>
                                    </p:anim>
                                    <p:anim calcmode="lin" valueType="num">
                                      <p:cBhvr additive="base">
                                        <p:cTn id="15" dur="300" fill="hold"/>
                                        <p:tgtEl>
                                          <p:spTgt spid="9"/>
                                        </p:tgtEl>
                                        <p:attrNameLst>
                                          <p:attrName>ppt_y</p:attrName>
                                        </p:attrNameLst>
                                      </p:cBhvr>
                                      <p:tavLst>
                                        <p:tav tm="0">
                                          <p:val>
                                            <p:strVal val="1+#ppt_h/2"/>
                                          </p:val>
                                        </p:tav>
                                        <p:tav tm="100000">
                                          <p:val>
                                            <p:strVal val="#ppt_y"/>
                                          </p:val>
                                        </p:tav>
                                      </p:tavLst>
                                    </p:anim>
                                  </p:childTnLst>
                                </p:cTn>
                              </p:par>
                            </p:childTnLst>
                          </p:cTn>
                        </p:par>
                        <p:par>
                          <p:cTn id="16" fill="hold">
                            <p:stCondLst>
                              <p:cond delay="800"/>
                            </p:stCondLst>
                            <p:childTnLst>
                              <p:par>
                                <p:cTn id="17" presetID="2" presetClass="entr" presetSubtype="2"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 calcmode="lin" valueType="num">
                                      <p:cBhvr additive="base">
                                        <p:cTn id="19" dur="500" fill="hold"/>
                                        <p:tgtEl>
                                          <p:spTgt spid="26"/>
                                        </p:tgtEl>
                                        <p:attrNameLst>
                                          <p:attrName>ppt_x</p:attrName>
                                        </p:attrNameLst>
                                      </p:cBhvr>
                                      <p:tavLst>
                                        <p:tav tm="0">
                                          <p:val>
                                            <p:strVal val="1+#ppt_w/2"/>
                                          </p:val>
                                        </p:tav>
                                        <p:tav tm="100000">
                                          <p:val>
                                            <p:strVal val="#ppt_x"/>
                                          </p:val>
                                        </p:tav>
                                      </p:tavLst>
                                    </p:anim>
                                    <p:anim calcmode="lin" valueType="num">
                                      <p:cBhvr additive="base">
                                        <p:cTn id="20" dur="500" fill="hold"/>
                                        <p:tgtEl>
                                          <p:spTgt spid="26"/>
                                        </p:tgtEl>
                                        <p:attrNameLst>
                                          <p:attrName>ppt_y</p:attrName>
                                        </p:attrNameLst>
                                      </p:cBhvr>
                                      <p:tavLst>
                                        <p:tav tm="0">
                                          <p:val>
                                            <p:strVal val="#ppt_y"/>
                                          </p:val>
                                        </p:tav>
                                        <p:tav tm="100000">
                                          <p:val>
                                            <p:strVal val="#ppt_y"/>
                                          </p:val>
                                        </p:tav>
                                      </p:tavLst>
                                    </p:anim>
                                  </p:childTnLst>
                                </p:cTn>
                              </p:par>
                              <p:par>
                                <p:cTn id="21" presetID="10" presetClass="entr" presetSubtype="0" fill="hold" grpId="0" nodeType="withEffect">
                                  <p:stCondLst>
                                    <p:cond delay="25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par>
                                <p:cTn id="24" presetID="2" presetClass="entr" presetSubtype="4" fill="hold" nodeType="withEffect">
                                  <p:stCondLst>
                                    <p:cond delay="500"/>
                                  </p:stCondLst>
                                  <p:childTnLst>
                                    <p:set>
                                      <p:cBhvr>
                                        <p:cTn id="25" dur="1" fill="hold">
                                          <p:stCondLst>
                                            <p:cond delay="0"/>
                                          </p:stCondLst>
                                        </p:cTn>
                                        <p:tgtEl>
                                          <p:spTgt spid="34"/>
                                        </p:tgtEl>
                                        <p:attrNameLst>
                                          <p:attrName>style.visibility</p:attrName>
                                        </p:attrNameLst>
                                      </p:cBhvr>
                                      <p:to>
                                        <p:strVal val="visible"/>
                                      </p:to>
                                    </p:set>
                                    <p:anim calcmode="lin" valueType="num">
                                      <p:cBhvr additive="base">
                                        <p:cTn id="26" dur="300" fill="hold"/>
                                        <p:tgtEl>
                                          <p:spTgt spid="34"/>
                                        </p:tgtEl>
                                        <p:attrNameLst>
                                          <p:attrName>ppt_x</p:attrName>
                                        </p:attrNameLst>
                                      </p:cBhvr>
                                      <p:tavLst>
                                        <p:tav tm="0">
                                          <p:val>
                                            <p:strVal val="#ppt_x"/>
                                          </p:val>
                                        </p:tav>
                                        <p:tav tm="100000">
                                          <p:val>
                                            <p:strVal val="#ppt_x"/>
                                          </p:val>
                                        </p:tav>
                                      </p:tavLst>
                                    </p:anim>
                                    <p:anim calcmode="lin" valueType="num">
                                      <p:cBhvr additive="base">
                                        <p:cTn id="27" dur="300" fill="hold"/>
                                        <p:tgtEl>
                                          <p:spTgt spid="34"/>
                                        </p:tgtEl>
                                        <p:attrNameLst>
                                          <p:attrName>ppt_y</p:attrName>
                                        </p:attrNameLst>
                                      </p:cBhvr>
                                      <p:tavLst>
                                        <p:tav tm="0">
                                          <p:val>
                                            <p:strVal val="1+#ppt_h/2"/>
                                          </p:val>
                                        </p:tav>
                                        <p:tav tm="100000">
                                          <p:val>
                                            <p:strVal val="#ppt_y"/>
                                          </p:val>
                                        </p:tav>
                                      </p:tavLst>
                                    </p:anim>
                                  </p:childTnLst>
                                </p:cTn>
                              </p:par>
                            </p:childTnLst>
                          </p:cTn>
                        </p:par>
                        <p:par>
                          <p:cTn id="28" fill="hold">
                            <p:stCondLst>
                              <p:cond delay="1600"/>
                            </p:stCondLst>
                            <p:childTnLst>
                              <p:par>
                                <p:cTn id="29" presetID="2" presetClass="entr" presetSubtype="2" fill="hold" grpId="0" nodeType="afterEffect">
                                  <p:stCondLst>
                                    <p:cond delay="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500" fill="hold"/>
                                        <p:tgtEl>
                                          <p:spTgt spid="27"/>
                                        </p:tgtEl>
                                        <p:attrNameLst>
                                          <p:attrName>ppt_x</p:attrName>
                                        </p:attrNameLst>
                                      </p:cBhvr>
                                      <p:tavLst>
                                        <p:tav tm="0">
                                          <p:val>
                                            <p:strVal val="1+#ppt_w/2"/>
                                          </p:val>
                                        </p:tav>
                                        <p:tav tm="100000">
                                          <p:val>
                                            <p:strVal val="#ppt_x"/>
                                          </p:val>
                                        </p:tav>
                                      </p:tavLst>
                                    </p:anim>
                                    <p:anim calcmode="lin" valueType="num">
                                      <p:cBhvr additive="base">
                                        <p:cTn id="32" dur="500" fill="hold"/>
                                        <p:tgtEl>
                                          <p:spTgt spid="27"/>
                                        </p:tgtEl>
                                        <p:attrNameLst>
                                          <p:attrName>ppt_y</p:attrName>
                                        </p:attrNameLst>
                                      </p:cBhvr>
                                      <p:tavLst>
                                        <p:tav tm="0">
                                          <p:val>
                                            <p:strVal val="#ppt_y"/>
                                          </p:val>
                                        </p:tav>
                                        <p:tav tm="100000">
                                          <p:val>
                                            <p:strVal val="#ppt_y"/>
                                          </p:val>
                                        </p:tav>
                                      </p:tavLst>
                                    </p:anim>
                                  </p:childTnLst>
                                </p:cTn>
                              </p:par>
                              <p:par>
                                <p:cTn id="33" presetID="10" presetClass="entr" presetSubtype="0" fill="hold" nodeType="withEffect">
                                  <p:stCondLst>
                                    <p:cond delay="250"/>
                                  </p:stCondLst>
                                  <p:childTnLst>
                                    <p:set>
                                      <p:cBhvr>
                                        <p:cTn id="34" dur="1" fill="hold">
                                          <p:stCondLst>
                                            <p:cond delay="0"/>
                                          </p:stCondLst>
                                        </p:cTn>
                                        <p:tgtEl>
                                          <p:spTgt spid="33">
                                            <p:txEl>
                                              <p:pRg st="0" end="0"/>
                                            </p:txEl>
                                          </p:spTgt>
                                        </p:tgtEl>
                                        <p:attrNameLst>
                                          <p:attrName>style.visibility</p:attrName>
                                        </p:attrNameLst>
                                      </p:cBhvr>
                                      <p:to>
                                        <p:strVal val="visible"/>
                                      </p:to>
                                    </p:set>
                                    <p:animEffect transition="in" filter="fade">
                                      <p:cBhvr>
                                        <p:cTn id="35" dur="500"/>
                                        <p:tgtEl>
                                          <p:spTgt spid="33">
                                            <p:txEl>
                                              <p:pRg st="0" end="0"/>
                                            </p:txEl>
                                          </p:spTgt>
                                        </p:tgtEl>
                                      </p:cBhvr>
                                    </p:animEffect>
                                  </p:childTnLst>
                                </p:cTn>
                              </p:par>
                              <p:par>
                                <p:cTn id="36" presetID="10" presetClass="entr" presetSubtype="0" fill="hold" nodeType="withEffect">
                                  <p:stCondLst>
                                    <p:cond delay="250"/>
                                  </p:stCondLst>
                                  <p:childTnLst>
                                    <p:set>
                                      <p:cBhvr>
                                        <p:cTn id="37" dur="1" fill="hold">
                                          <p:stCondLst>
                                            <p:cond delay="0"/>
                                          </p:stCondLst>
                                        </p:cTn>
                                        <p:tgtEl>
                                          <p:spTgt spid="33">
                                            <p:txEl>
                                              <p:pRg st="1" end="1"/>
                                            </p:txEl>
                                          </p:spTgt>
                                        </p:tgtEl>
                                        <p:attrNameLst>
                                          <p:attrName>style.visibility</p:attrName>
                                        </p:attrNameLst>
                                      </p:cBhvr>
                                      <p:to>
                                        <p:strVal val="visible"/>
                                      </p:to>
                                    </p:set>
                                    <p:animEffect transition="in" filter="fade">
                                      <p:cBhvr>
                                        <p:cTn id="38" dur="500"/>
                                        <p:tgtEl>
                                          <p:spTgt spid="33">
                                            <p:txEl>
                                              <p:pRg st="1" end="1"/>
                                            </p:txEl>
                                          </p:spTgt>
                                        </p:tgtEl>
                                      </p:cBhvr>
                                    </p:animEffect>
                                  </p:childTnLst>
                                </p:cTn>
                              </p:par>
                              <p:par>
                                <p:cTn id="39" presetID="2" presetClass="entr" presetSubtype="4" fill="hold" nodeType="withEffect">
                                  <p:stCondLst>
                                    <p:cond delay="500"/>
                                  </p:stCondLst>
                                  <p:childTnLst>
                                    <p:set>
                                      <p:cBhvr>
                                        <p:cTn id="40" dur="1" fill="hold">
                                          <p:stCondLst>
                                            <p:cond delay="0"/>
                                          </p:stCondLst>
                                        </p:cTn>
                                        <p:tgtEl>
                                          <p:spTgt spid="35"/>
                                        </p:tgtEl>
                                        <p:attrNameLst>
                                          <p:attrName>style.visibility</p:attrName>
                                        </p:attrNameLst>
                                      </p:cBhvr>
                                      <p:to>
                                        <p:strVal val="visible"/>
                                      </p:to>
                                    </p:set>
                                    <p:anim calcmode="lin" valueType="num">
                                      <p:cBhvr additive="base">
                                        <p:cTn id="41" dur="300" fill="hold"/>
                                        <p:tgtEl>
                                          <p:spTgt spid="35"/>
                                        </p:tgtEl>
                                        <p:attrNameLst>
                                          <p:attrName>ppt_x</p:attrName>
                                        </p:attrNameLst>
                                      </p:cBhvr>
                                      <p:tavLst>
                                        <p:tav tm="0">
                                          <p:val>
                                            <p:strVal val="#ppt_x"/>
                                          </p:val>
                                        </p:tav>
                                        <p:tav tm="100000">
                                          <p:val>
                                            <p:strVal val="#ppt_x"/>
                                          </p:val>
                                        </p:tav>
                                      </p:tavLst>
                                    </p:anim>
                                    <p:anim calcmode="lin" valueType="num">
                                      <p:cBhvr additive="base">
                                        <p:cTn id="42" dur="300" fill="hold"/>
                                        <p:tgtEl>
                                          <p:spTgt spid="3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P spid="8" grpId="0" animBg="1"/>
      <p:bldP spid="26" grpId="0" animBg="1"/>
      <p:bldP spid="2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enarios</a:t>
            </a:r>
          </a:p>
        </p:txBody>
      </p:sp>
      <p:graphicFrame>
        <p:nvGraphicFramePr>
          <p:cNvPr id="4" name="Diagram 3"/>
          <p:cNvGraphicFramePr/>
          <p:nvPr>
            <p:extLst/>
          </p:nvPr>
        </p:nvGraphicFramePr>
        <p:xfrm>
          <a:off x="274638" y="1212850"/>
          <a:ext cx="11887200" cy="57861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6900589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764" y="497"/>
            <a:ext cx="12432948" cy="6993533"/>
          </a:xfrm>
          <a:prstGeom prst="rect">
            <a:avLst/>
          </a:prstGeom>
        </p:spPr>
      </p:pic>
      <p:grpSp>
        <p:nvGrpSpPr>
          <p:cNvPr id="18" name="Group 17"/>
          <p:cNvGrpSpPr/>
          <p:nvPr/>
        </p:nvGrpSpPr>
        <p:grpSpPr>
          <a:xfrm>
            <a:off x="881" y="1511048"/>
            <a:ext cx="6538164" cy="3972430"/>
            <a:chOff x="-2" y="2125662"/>
            <a:chExt cx="6539092" cy="3972994"/>
          </a:xfrm>
        </p:grpSpPr>
        <p:sp>
          <p:nvSpPr>
            <p:cNvPr id="19" name="Rectangle 18"/>
            <p:cNvSpPr/>
            <p:nvPr/>
          </p:nvSpPr>
          <p:spPr>
            <a:xfrm>
              <a:off x="0" y="5554662"/>
              <a:ext cx="6539090" cy="543994"/>
            </a:xfrm>
            <a:prstGeom prst="rect">
              <a:avLst/>
            </a:prstGeom>
            <a:solidFill>
              <a:schemeClr val="accent6">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 name="Rectangle 19"/>
            <p:cNvSpPr/>
            <p:nvPr/>
          </p:nvSpPr>
          <p:spPr bwMode="auto">
            <a:xfrm>
              <a:off x="-2" y="2125662"/>
              <a:ext cx="6539092" cy="343283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5" tIns="149196" rIns="365708" bIns="149196" numCol="1" spcCol="0" rtlCol="0" fromWordArt="0" anchor="ctr" anchorCtr="0" forceAA="0" compatLnSpc="1">
              <a:prstTxWarp prst="textNoShape">
                <a:avLst/>
              </a:prstTxWarp>
              <a:noAutofit/>
            </a:bodyPr>
            <a:lstStyle/>
            <a:p>
              <a:pPr marL="0" marR="0" lvl="0" indent="0" algn="l" defTabSz="932563" rtl="0" eaLnBrk="1" fontAlgn="auto" latinLnBrk="0" hangingPunct="1">
                <a:lnSpc>
                  <a:spcPct val="100000"/>
                </a:lnSpc>
                <a:spcBef>
                  <a:spcPts val="0"/>
                </a:spcBef>
                <a:spcAft>
                  <a:spcPts val="1499"/>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Segoe UI"/>
                  <a:ea typeface="+mn-ea"/>
                  <a:cs typeface="+mn-cs"/>
                </a:rPr>
                <a:t>“Thousands of partners sign in to our platform every hour. The response time from the Face API is incredible, enabling us to verify our drivers without slowing them down.”</a:t>
              </a:r>
              <a:endParaRPr kumimoji="0" lang="en-US" sz="2400" b="0" i="1" u="none" strike="noStrike" kern="1200" cap="none" spc="0" normalizeH="0" baseline="0" noProof="0" dirty="0">
                <a:ln>
                  <a:noFill/>
                </a:ln>
                <a:solidFill>
                  <a:prstClr val="white"/>
                </a:solidFill>
                <a:effectLst/>
                <a:uLnTx/>
                <a:uFillTx/>
                <a:latin typeface="Segoe UI"/>
                <a:ea typeface="+mn-ea"/>
                <a:cs typeface="+mn-cs"/>
              </a:endParaRPr>
            </a:p>
            <a:p>
              <a:pPr marL="0" marR="0" lvl="0" indent="0" algn="r" defTabSz="932563" rtl="0" eaLnBrk="1" fontAlgn="auto" latinLnBrk="0" hangingPunct="1">
                <a:lnSpc>
                  <a:spcPct val="100000"/>
                </a:lnSpc>
                <a:spcBef>
                  <a:spcPts val="0"/>
                </a:spcBef>
                <a:spcAft>
                  <a:spcPts val="1499"/>
                </a:spcAft>
                <a:buClrTx/>
                <a:buSzTx/>
                <a:buFontTx/>
                <a:buNone/>
                <a:tabLst/>
                <a:defRPr/>
              </a:pPr>
              <a:r>
                <a:rPr kumimoji="0" lang="nl-NL" sz="1700" b="0" i="0" u="none" strike="noStrike" kern="1200" cap="none" spc="0" normalizeH="0" baseline="0" noProof="0" dirty="0">
                  <a:ln>
                    <a:noFill/>
                  </a:ln>
                  <a:solidFill>
                    <a:prstClr val="white"/>
                  </a:solidFill>
                  <a:effectLst/>
                  <a:uLnTx/>
                  <a:uFillTx/>
                  <a:latin typeface="Segoe UI"/>
                  <a:ea typeface="+mn-ea"/>
                  <a:cs typeface="+mn-cs"/>
                </a:rPr>
                <a:t>Dima Kovalev, Product Manager, Uber</a:t>
              </a:r>
              <a:endParaRPr kumimoji="0" lang="en-US" sz="1700" b="0" i="1" u="none" strike="noStrike" kern="1200" cap="none" spc="0" normalizeH="0" baseline="0" noProof="0" dirty="0">
                <a:ln>
                  <a:noFill/>
                </a:ln>
                <a:solidFill>
                  <a:prstClr val="white"/>
                </a:solidFill>
                <a:effectLst/>
                <a:uLnTx/>
                <a:uFillTx/>
                <a:latin typeface="Segoe UI"/>
                <a:ea typeface="+mn-ea"/>
                <a:cs typeface="+mn-cs"/>
              </a:endParaRPr>
            </a:p>
          </p:txBody>
        </p:sp>
        <p:sp>
          <p:nvSpPr>
            <p:cNvPr id="21" name="TextBox 20"/>
            <p:cNvSpPr txBox="1"/>
            <p:nvPr/>
          </p:nvSpPr>
          <p:spPr>
            <a:xfrm>
              <a:off x="295111" y="5558841"/>
              <a:ext cx="1215357" cy="535636"/>
            </a:xfrm>
            <a:prstGeom prst="rect">
              <a:avLst/>
            </a:prstGeom>
            <a:noFill/>
          </p:spPr>
          <p:txBody>
            <a:bodyPr wrap="none" lIns="182854" tIns="146283" rIns="182854" bIns="146283" rtlCol="0" anchor="ctr">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7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Face API</a:t>
              </a:r>
            </a:p>
          </p:txBody>
        </p:sp>
        <p:sp>
          <p:nvSpPr>
            <p:cNvPr id="22" name="TextBox 21"/>
            <p:cNvSpPr txBox="1"/>
            <p:nvPr/>
          </p:nvSpPr>
          <p:spPr>
            <a:xfrm>
              <a:off x="4482119" y="5594227"/>
              <a:ext cx="2020831" cy="464866"/>
            </a:xfrm>
            <a:prstGeom prst="rect">
              <a:avLst/>
            </a:prstGeom>
            <a:solidFill>
              <a:schemeClr val="accent4"/>
            </a:solidFill>
          </p:spPr>
          <p:txBody>
            <a:bodyPr wrap="none" lIns="182854" tIns="146283" rIns="182854" bIns="146283" rtlCol="0" anchor="ctr">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199"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Read Case Study Here  </a:t>
              </a:r>
            </a:p>
          </p:txBody>
        </p:sp>
      </p:grpSp>
      <p:pic>
        <p:nvPicPr>
          <p:cNvPr id="12" name="Picture 11" descr="Uber logo.svg"/>
          <p:cNvPicPr/>
          <p:nvPr/>
        </p:nvPicPr>
        <p:blipFill>
          <a:blip r:embed="rId4">
            <a:extLst>
              <a:ext uri="{28A0092B-C50C-407E-A947-70E740481C1C}">
                <a14:useLocalDpi xmlns:a14="http://schemas.microsoft.com/office/drawing/2010/main" val="0"/>
              </a:ext>
            </a:extLst>
          </a:blip>
          <a:srcRect/>
          <a:stretch>
            <a:fillRect/>
          </a:stretch>
        </p:blipFill>
        <p:spPr bwMode="auto">
          <a:xfrm>
            <a:off x="4221944" y="850054"/>
            <a:ext cx="2209487" cy="474938"/>
          </a:xfrm>
          <a:prstGeom prst="rect">
            <a:avLst/>
          </a:prstGeom>
          <a:noFill/>
          <a:ln>
            <a:noFill/>
          </a:ln>
        </p:spPr>
      </p:pic>
    </p:spTree>
    <p:extLst>
      <p:ext uri="{BB962C8B-B14F-4D97-AF65-F5344CB8AC3E}">
        <p14:creationId xmlns:p14="http://schemas.microsoft.com/office/powerpoint/2010/main" val="3954475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0-#ppt_w/2"/>
                                          </p:val>
                                        </p:tav>
                                        <p:tav tm="100000">
                                          <p:val>
                                            <p:strVal val="#ppt_x"/>
                                          </p:val>
                                        </p:tav>
                                      </p:tavLst>
                                    </p:anim>
                                    <p:anim calcmode="lin" valueType="num">
                                      <p:cBhvr additive="base">
                                        <p:cTn id="8" dur="5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How do I use them?  </a:t>
            </a:r>
          </a:p>
        </p:txBody>
      </p:sp>
      <p:sp>
        <p:nvSpPr>
          <p:cNvPr id="3" name="Text Placeholder 2"/>
          <p:cNvSpPr>
            <a:spLocks noGrp="1"/>
          </p:cNvSpPr>
          <p:nvPr>
            <p:ph type="body" sz="quarter" idx="10"/>
          </p:nvPr>
        </p:nvSpPr>
        <p:spPr>
          <a:xfrm>
            <a:off x="274638" y="1221157"/>
            <a:ext cx="11887199" cy="3785652"/>
          </a:xfrm>
        </p:spPr>
        <p:txBody>
          <a:bodyPr/>
          <a:lstStyle/>
          <a:p>
            <a:r>
              <a:rPr lang="en-US" sz="2000" dirty="0"/>
              <a:t>using </a:t>
            </a:r>
            <a:r>
              <a:rPr lang="en-US" sz="2000" dirty="0" err="1"/>
              <a:t>Microsoft.ProjectOxford.Vision</a:t>
            </a:r>
            <a:r>
              <a:rPr lang="en-US" sz="2000" dirty="0"/>
              <a:t>;</a:t>
            </a:r>
          </a:p>
          <a:p>
            <a:r>
              <a:rPr lang="en-US" sz="2000" dirty="0"/>
              <a:t>using </a:t>
            </a:r>
            <a:r>
              <a:rPr lang="en-US" sz="2000" dirty="0" err="1"/>
              <a:t>Microsoft.ProjectOxford.Vision.Contract</a:t>
            </a:r>
            <a:r>
              <a:rPr lang="en-US" sz="2000" dirty="0"/>
              <a:t>;</a:t>
            </a:r>
          </a:p>
          <a:p>
            <a:endParaRPr lang="en-US" sz="2000" dirty="0"/>
          </a:p>
          <a:p>
            <a:r>
              <a:rPr lang="en-US" sz="2000" dirty="0" err="1"/>
              <a:t>AnalysisResult</a:t>
            </a:r>
            <a:r>
              <a:rPr lang="en-US" sz="2000" dirty="0"/>
              <a:t> </a:t>
            </a:r>
            <a:r>
              <a:rPr lang="en-US" sz="2000" dirty="0" err="1"/>
              <a:t>analysisResult</a:t>
            </a:r>
            <a:r>
              <a:rPr lang="en-US" sz="2000" dirty="0"/>
              <a:t>;</a:t>
            </a:r>
          </a:p>
          <a:p>
            <a:r>
              <a:rPr lang="en-US" sz="2000" dirty="0" err="1"/>
              <a:t>var</a:t>
            </a:r>
            <a:r>
              <a:rPr lang="en-US" sz="2000" dirty="0"/>
              <a:t> features = new </a:t>
            </a:r>
            <a:r>
              <a:rPr lang="en-US" sz="2000" dirty="0" err="1"/>
              <a:t>VisualFeature</a:t>
            </a:r>
            <a:r>
              <a:rPr lang="en-US" sz="2000" dirty="0"/>
              <a:t>[] { </a:t>
            </a:r>
            <a:r>
              <a:rPr lang="en-US" sz="2000" dirty="0" err="1"/>
              <a:t>VisualFeature.Tags</a:t>
            </a:r>
            <a:r>
              <a:rPr lang="en-US" sz="2000" dirty="0"/>
              <a:t>, </a:t>
            </a:r>
            <a:r>
              <a:rPr lang="en-US" sz="2000" dirty="0" err="1"/>
              <a:t>VisualFeature.Description</a:t>
            </a:r>
            <a:r>
              <a:rPr lang="en-US" sz="2000" dirty="0"/>
              <a:t> };</a:t>
            </a:r>
          </a:p>
          <a:p>
            <a:endParaRPr lang="en-US" sz="2000" dirty="0"/>
          </a:p>
          <a:p>
            <a:r>
              <a:rPr lang="en-US" sz="2000" dirty="0"/>
              <a:t>using (</a:t>
            </a:r>
            <a:r>
              <a:rPr lang="en-US" sz="2000" dirty="0" err="1"/>
              <a:t>var</a:t>
            </a:r>
            <a:r>
              <a:rPr lang="en-US" sz="2000" dirty="0"/>
              <a:t> fs = new </a:t>
            </a:r>
            <a:r>
              <a:rPr lang="en-US" sz="2000" dirty="0" err="1"/>
              <a:t>FileStream</a:t>
            </a:r>
            <a:r>
              <a:rPr lang="en-US" sz="2000" dirty="0"/>
              <a:t>(@"C:\Vision\Sample.jpg", </a:t>
            </a:r>
            <a:r>
              <a:rPr lang="en-US" sz="2000" dirty="0" err="1"/>
              <a:t>FileMode.Open</a:t>
            </a:r>
            <a:r>
              <a:rPr lang="en-US" sz="2000" dirty="0"/>
              <a:t>))</a:t>
            </a:r>
          </a:p>
          <a:p>
            <a:r>
              <a:rPr lang="en-US" sz="2000" dirty="0"/>
              <a:t>{</a:t>
            </a:r>
          </a:p>
          <a:p>
            <a:r>
              <a:rPr lang="en-US" sz="2000" dirty="0"/>
              <a:t>  </a:t>
            </a:r>
            <a:r>
              <a:rPr lang="en-US" sz="2000" dirty="0" err="1"/>
              <a:t>analysisResult</a:t>
            </a:r>
            <a:r>
              <a:rPr lang="en-US" sz="2000" dirty="0"/>
              <a:t> = await </a:t>
            </a:r>
            <a:r>
              <a:rPr lang="en-US" sz="2000" dirty="0" err="1"/>
              <a:t>visionClient.AnalyzeImageAsync</a:t>
            </a:r>
            <a:r>
              <a:rPr lang="en-US" sz="2000" dirty="0"/>
              <a:t>(fs, features);</a:t>
            </a:r>
          </a:p>
          <a:p>
            <a:r>
              <a:rPr lang="en-US" sz="2000" dirty="0"/>
              <a:t>}</a:t>
            </a:r>
          </a:p>
        </p:txBody>
      </p:sp>
      <p:sp>
        <p:nvSpPr>
          <p:cNvPr id="7" name="TextBox 6"/>
          <p:cNvSpPr txBox="1"/>
          <p:nvPr/>
        </p:nvSpPr>
        <p:spPr>
          <a:xfrm>
            <a:off x="274638" y="5554662"/>
            <a:ext cx="12144104" cy="877933"/>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8272"/>
                </a:solidFill>
                <a:effectLst/>
                <a:uLnTx/>
                <a:uFillTx/>
                <a:latin typeface="Courier New" panose="02070309020205020404" pitchFamily="49" charset="0"/>
                <a:ea typeface="+mn-ea"/>
                <a:cs typeface="Courier New" panose="02070309020205020404" pitchFamily="49" charset="0"/>
              </a:rPr>
              <a:t>POST https://api.projectoxford.ai/vision/v1.0/analyze?visualFeatures=Description,Tags</a:t>
            </a: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8272"/>
                </a:solidFill>
                <a:effectLst/>
                <a:uLnTx/>
                <a:uFillTx/>
                <a:latin typeface="Courier New" panose="02070309020205020404" pitchFamily="49" charset="0"/>
                <a:ea typeface="+mn-ea"/>
                <a:cs typeface="Courier New" panose="02070309020205020404" pitchFamily="49" charset="0"/>
              </a:rPr>
              <a:t>&amp;subscription-key=&lt;Your subscription key&gt;</a:t>
            </a:r>
          </a:p>
        </p:txBody>
      </p:sp>
      <p:pic>
        <p:nvPicPr>
          <p:cNvPr id="4" name="Picture 3"/>
          <p:cNvPicPr>
            <a:picLocks noChangeAspect="1"/>
          </p:cNvPicPr>
          <p:nvPr/>
        </p:nvPicPr>
        <p:blipFill>
          <a:blip r:embed="rId3"/>
          <a:stretch>
            <a:fillRect/>
          </a:stretch>
        </p:blipFill>
        <p:spPr>
          <a:xfrm>
            <a:off x="9952037" y="125412"/>
            <a:ext cx="2354153" cy="2374624"/>
          </a:xfrm>
          <a:prstGeom prst="rect">
            <a:avLst/>
          </a:prstGeom>
        </p:spPr>
      </p:pic>
      <p:sp>
        <p:nvSpPr>
          <p:cNvPr id="9" name="Rectangle 4"/>
          <p:cNvSpPr>
            <a:spLocks noChangeArrowheads="1"/>
          </p:cNvSpPr>
          <p:nvPr/>
        </p:nvSpPr>
        <p:spPr bwMode="auto">
          <a:xfrm>
            <a:off x="7802690" y="1668462"/>
            <a:ext cx="4343400" cy="4924425"/>
          </a:xfrm>
          <a:prstGeom prst="rect">
            <a:avLst/>
          </a:prstGeom>
          <a:solidFill>
            <a:schemeClr val="accent2"/>
          </a:solidFill>
          <a:ln>
            <a:noFill/>
          </a:ln>
          <a:effec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FFFFFF"/>
                </a:solidFill>
                <a:effectLst/>
                <a:uLnTx/>
                <a:uFillTx/>
                <a:latin typeface="Courier New" panose="02070309020205020404" pitchFamily="49" charset="0"/>
                <a:ea typeface="+mn-ea"/>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FFFFFF"/>
                </a:solidFill>
                <a:effectLst/>
                <a:uLnTx/>
                <a:uFillTx/>
                <a:latin typeface="Courier New" panose="02070309020205020404" pitchFamily="49" charset="0"/>
                <a:ea typeface="+mn-ea"/>
                <a:cs typeface="Courier New" panose="02070309020205020404" pitchFamily="49" charset="0"/>
              </a:rPr>
              <a:t>  "tags": [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FFFFFF"/>
                </a:solidFill>
                <a:effectLst/>
                <a:uLnTx/>
                <a:uFillTx/>
                <a:latin typeface="Courier New" panose="02070309020205020404" pitchFamily="49" charset="0"/>
                <a:ea typeface="+mn-ea"/>
                <a:cs typeface="Courier New" panose="02070309020205020404" pitchFamily="49" charset="0"/>
              </a:rPr>
              <a:t>    { "name": "outdoor",</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FFFFFF"/>
                </a:solidFill>
                <a:effectLst/>
                <a:uLnTx/>
                <a:uFillTx/>
                <a:latin typeface="Courier New" panose="02070309020205020404" pitchFamily="49" charset="0"/>
                <a:ea typeface="+mn-ea"/>
                <a:cs typeface="Courier New" panose="02070309020205020404" pitchFamily="49" charset="0"/>
              </a:rPr>
              <a:t>      "score": 0.976 },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FFFFFF"/>
                </a:solidFill>
                <a:effectLst/>
                <a:uLnTx/>
                <a:uFillTx/>
                <a:latin typeface="Courier New" panose="02070309020205020404" pitchFamily="49" charset="0"/>
                <a:ea typeface="+mn-ea"/>
                <a:cs typeface="Courier New" panose="02070309020205020404" pitchFamily="49" charset="0"/>
              </a:rPr>
              <a:t>    { "name": "bird",</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FFFFFF"/>
                </a:solidFill>
                <a:effectLst/>
                <a:uLnTx/>
                <a:uFillTx/>
                <a:latin typeface="Courier New" panose="02070309020205020404" pitchFamily="49" charset="0"/>
                <a:ea typeface="+mn-ea"/>
                <a:cs typeface="Courier New" panose="02070309020205020404" pitchFamily="49" charset="0"/>
              </a:rPr>
              <a:t>      "score": 0.95 }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FFFFFF"/>
                </a:solidFill>
                <a:effectLst/>
                <a:uLnTx/>
                <a:uFillTx/>
                <a:latin typeface="Courier New" panose="02070309020205020404" pitchFamily="49" charset="0"/>
                <a:ea typeface="+mn-ea"/>
                <a:cs typeface="Courier New" panose="02070309020205020404" pitchFamily="49" charset="0"/>
              </a:rPr>
              <a:t>  "description":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FFFFFF"/>
                </a:solidFill>
                <a:effectLst/>
                <a:uLnTx/>
                <a:uFillTx/>
                <a:latin typeface="Courier New" panose="02070309020205020404" pitchFamily="49" charset="0"/>
                <a:ea typeface="+mn-ea"/>
                <a:cs typeface="Courier New" panose="02070309020205020404" pitchFamily="49" charset="0"/>
              </a:rPr>
              <a:t>    { "tags":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FFFFFF"/>
                </a:solidFill>
                <a:effectLst/>
                <a:uLnTx/>
                <a:uFillTx/>
                <a:latin typeface="Courier New" panose="02070309020205020404" pitchFamily="49" charset="0"/>
                <a:ea typeface="+mn-ea"/>
                <a:cs typeface="Courier New" panose="02070309020205020404" pitchFamily="49" charset="0"/>
              </a:rPr>
              <a:t>      [ "outdoor", "bird"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FFFFFF"/>
                </a:solidFill>
                <a:effectLst/>
                <a:uLnTx/>
                <a:uFillTx/>
                <a:latin typeface="Courier New" panose="02070309020205020404" pitchFamily="49" charset="0"/>
                <a:ea typeface="+mn-ea"/>
                <a:cs typeface="Courier New" panose="02070309020205020404" pitchFamily="49" charset="0"/>
              </a:rPr>
              <a:t>      "captions": [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FFFFFF"/>
                </a:solidFill>
                <a:effectLst/>
                <a:uLnTx/>
                <a:uFillTx/>
                <a:latin typeface="Courier New" panose="02070309020205020404" pitchFamily="49" charset="0"/>
                <a:ea typeface="+mn-ea"/>
                <a:cs typeface="Courier New" panose="02070309020205020404" pitchFamily="49" charset="0"/>
              </a:rPr>
              <a:t>      { "text": "partridg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FFFFFF"/>
                </a:solidFill>
                <a:effectLst/>
                <a:uLnTx/>
                <a:uFillTx/>
                <a:latin typeface="Courier New" panose="02070309020205020404" pitchFamily="49" charset="0"/>
                <a:ea typeface="+mn-ea"/>
                <a:cs typeface="Courier New" panose="02070309020205020404" pitchFamily="49" charset="0"/>
              </a:rPr>
              <a:t>         in a pear tre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FFFFFF"/>
                </a:solidFill>
                <a:effectLst/>
                <a:uLnTx/>
                <a:uFillTx/>
                <a:latin typeface="Courier New" panose="02070309020205020404" pitchFamily="49" charset="0"/>
                <a:ea typeface="+mn-ea"/>
                <a:cs typeface="Courier New" panose="02070309020205020404" pitchFamily="49" charset="0"/>
              </a:rPr>
              <a:t>        "confidence": 0.96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FFFFFF"/>
                </a:solidFill>
                <a:effectLst/>
                <a:uLnTx/>
                <a:uFillTx/>
                <a:latin typeface="Courier New" panose="02070309020205020404" pitchFamily="49" charset="0"/>
                <a:ea typeface="+mn-ea"/>
                <a:cs typeface="Courier New" panose="02070309020205020404" pitchFamily="49" charset="0"/>
              </a:rPr>
              <a:t>      ]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FFFFFF"/>
                </a:solidFill>
                <a:effectLst/>
                <a:uLnTx/>
                <a:uFillTx/>
                <a:latin typeface="Courier New" panose="02070309020205020404" pitchFamily="49" charset="0"/>
                <a:ea typeface="+mn-ea"/>
                <a:cs typeface="Courier New" panose="02070309020205020404" pitchFamily="49" charset="0"/>
              </a:rPr>
              <a:t>    }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FFFFFF"/>
                </a:solidFill>
                <a:effectLst/>
                <a:uLnTx/>
                <a:uFillTx/>
                <a:latin typeface="Courier New" panose="02070309020205020404" pitchFamily="49" charset="0"/>
                <a:ea typeface="+mn-ea"/>
                <a:cs typeface="Courier New" panose="02070309020205020404" pitchFamily="49" charset="0"/>
              </a:rPr>
              <a:t>} </a:t>
            </a:r>
          </a:p>
        </p:txBody>
      </p:sp>
    </p:spTree>
    <p:extLst>
      <p:ext uri="{BB962C8B-B14F-4D97-AF65-F5344CB8AC3E}">
        <p14:creationId xmlns:p14="http://schemas.microsoft.com/office/powerpoint/2010/main" val="37854364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ion</a:t>
            </a:r>
          </a:p>
        </p:txBody>
      </p:sp>
    </p:spTree>
    <p:extLst>
      <p:ext uri="{BB962C8B-B14F-4D97-AF65-F5344CB8AC3E}">
        <p14:creationId xmlns:p14="http://schemas.microsoft.com/office/powerpoint/2010/main" val="317982146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129_AI_Immersion_Workshop_Template">
  <a:themeElements>
    <a:clrScheme name="AI Immersion Workshop">
      <a:dk1>
        <a:srgbClr val="353535"/>
      </a:dk1>
      <a:lt1>
        <a:srgbClr val="FFFFFF"/>
      </a:lt1>
      <a:dk2>
        <a:srgbClr val="0078D7"/>
      </a:dk2>
      <a:lt2>
        <a:srgbClr val="EAEAEA"/>
      </a:lt2>
      <a:accent1>
        <a:srgbClr val="0078D7"/>
      </a:accent1>
      <a:accent2>
        <a:srgbClr val="000000"/>
      </a:accent2>
      <a:accent3>
        <a:srgbClr val="505050"/>
      </a:accent3>
      <a:accent4>
        <a:srgbClr val="737373"/>
      </a:accent4>
      <a:accent5>
        <a:srgbClr val="00BCF2"/>
      </a:accent5>
      <a:accent6>
        <a:srgbClr val="002050"/>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I_Immersion_Template_16x9.potx" id="{1411D15E-2C6A-4931-B0C2-619D387D68BB}" vid="{D0D55ECE-B2EF-4CFB-90C5-2A41005C4379}"/>
    </a:ext>
  </a:extLst>
</a:theme>
</file>

<file path=ppt/theme/theme2.xml><?xml version="1.0" encoding="utf-8"?>
<a:theme xmlns:a="http://schemas.openxmlformats.org/drawingml/2006/main" name="MS Cognitive Services Walking Deck">
  <a:themeElements>
    <a:clrScheme name="Custom 1">
      <a:dk1>
        <a:sysClr val="windowText" lastClr="000000"/>
      </a:dk1>
      <a:lt1>
        <a:sysClr val="window" lastClr="FFFFFF"/>
      </a:lt1>
      <a:dk2>
        <a:srgbClr val="333333"/>
      </a:dk2>
      <a:lt2>
        <a:srgbClr val="FFFFFF"/>
      </a:lt2>
      <a:accent1>
        <a:srgbClr val="00B294"/>
      </a:accent1>
      <a:accent2>
        <a:srgbClr val="004B50"/>
      </a:accent2>
      <a:accent3>
        <a:srgbClr val="B4009E"/>
      </a:accent3>
      <a:accent4>
        <a:srgbClr val="FFB900"/>
      </a:accent4>
      <a:accent5>
        <a:srgbClr val="FF8C00"/>
      </a:accent5>
      <a:accent6>
        <a:srgbClr val="505050"/>
      </a:accent6>
      <a:hlink>
        <a:srgbClr val="FFFFFF"/>
      </a:hlink>
      <a:folHlink>
        <a:srgbClr val="139882"/>
      </a:folHlink>
    </a:clrScheme>
    <a:fontScheme name="Microsoft">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achine_Learning_Data_Science_Conference_Spring_2016_Template">
  <a:themeElements>
    <a:clrScheme name="Custom 1">
      <a:dk1>
        <a:srgbClr val="505050"/>
      </a:dk1>
      <a:lt1>
        <a:srgbClr val="FFFFFF"/>
      </a:lt1>
      <a:dk2>
        <a:srgbClr val="0072C6"/>
      </a:dk2>
      <a:lt2>
        <a:srgbClr val="D2D2D2"/>
      </a:lt2>
      <a:accent1>
        <a:srgbClr val="DC3C00"/>
      </a:accent1>
      <a:accent2>
        <a:srgbClr val="008272"/>
      </a:accent2>
      <a:accent3>
        <a:srgbClr val="505050"/>
      </a:accent3>
      <a:accent4>
        <a:srgbClr val="FFB900"/>
      </a:accent4>
      <a:accent5>
        <a:srgbClr val="FF8C00"/>
      </a:accent5>
      <a:accent6>
        <a:srgbClr val="0000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_analytics_workshop_Fall_2015_Template" id="{6D008FEA-61D5-4F9D-9B7A-C189686AAA6B}" vid="{FC3A1E4D-B3D0-45CD-9323-AFA0E992A232}"/>
    </a:ext>
  </a:extLst>
</a:theme>
</file>

<file path=ppt/theme/theme4.xml><?xml version="1.0" encoding="utf-8"?>
<a:theme xmlns:a="http://schemas.openxmlformats.org/drawingml/2006/main" name="Airlift">
  <a:themeElements>
    <a:clrScheme name="AA Airlift 2016">
      <a:dk1>
        <a:srgbClr val="505050"/>
      </a:dk1>
      <a:lt1>
        <a:srgbClr val="FFFFFF"/>
      </a:lt1>
      <a:dk2>
        <a:srgbClr val="0072C6"/>
      </a:dk2>
      <a:lt2>
        <a:srgbClr val="69C8CA"/>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irlift" id="{61C1DB7C-A771-44CA-BB53-1F30B30A8EC5}" vid="{E809A053-A0D7-4DB5-84F7-3C93303D459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3" ma:contentTypeDescription="Create a new document." ma:contentTypeScope="" ma:versionID="f0876370c90de824ab54c09b0bd2a056">
  <xsd:schema xmlns:xsd="http://www.w3.org/2001/XMLSchema" xmlns:xs="http://www.w3.org/2001/XMLSchema" xmlns:p="http://schemas.microsoft.com/office/2006/metadata/properties" xmlns:ns3="630a2e83-186a-4a0f-ab27-bee8a8096abc" targetNamespace="http://schemas.microsoft.com/office/2006/metadata/properties" ma:root="true" ma:fieldsID="a2a3b5ed8b4accd7c8a398d0cb075271" ns3:_="">
    <xsd:import namespace="630a2e83-186a-4a0f-ab27-bee8a8096abc"/>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330841A-A209-44E7-824E-9DDB4DE0DC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630a2e83-186a-4a0f-ab27-bee8a8096abc"/>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AI_Immersion_Template_16x9</Template>
  <TotalTime>1091</TotalTime>
  <Words>4365</Words>
  <Application>Microsoft Office PowerPoint</Application>
  <PresentationFormat>Custom</PresentationFormat>
  <Paragraphs>446</Paragraphs>
  <Slides>38</Slides>
  <Notes>37</Notes>
  <HiddenSlides>3</HiddenSlides>
  <MMClips>1</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38</vt:i4>
      </vt:variant>
    </vt:vector>
  </HeadingPairs>
  <TitlesOfParts>
    <vt:vector size="51" baseType="lpstr">
      <vt:lpstr>Arial</vt:lpstr>
      <vt:lpstr>Consolas</vt:lpstr>
      <vt:lpstr>Courier New</vt:lpstr>
      <vt:lpstr>Segoe UI</vt:lpstr>
      <vt:lpstr>Segoe UI Light</vt:lpstr>
      <vt:lpstr>Segoe UI Semibold</vt:lpstr>
      <vt:lpstr>Segoe UI Semilight</vt:lpstr>
      <vt:lpstr>Wingdings</vt:lpstr>
      <vt:lpstr>5-50129_AI_Immersion_Workshop_Template</vt:lpstr>
      <vt:lpstr>MS Cognitive Services Walking Deck</vt:lpstr>
      <vt:lpstr>Machine_Learning_Data_Science_Conference_Spring_2016_Template</vt:lpstr>
      <vt:lpstr>Airlift</vt:lpstr>
      <vt:lpstr>think-cell Slide</vt:lpstr>
      <vt:lpstr>PowerPoint Presentation</vt:lpstr>
      <vt:lpstr>Cognitive Services:  Making AI Easy</vt:lpstr>
      <vt:lpstr>Session Goals </vt:lpstr>
      <vt:lpstr>PowerPoint Presentation</vt:lpstr>
      <vt:lpstr>Why Microsoft  Cognitive Services?</vt:lpstr>
      <vt:lpstr>Scenarios</vt:lpstr>
      <vt:lpstr>PowerPoint Presentation</vt:lpstr>
      <vt:lpstr>How do I use them?  </vt:lpstr>
      <vt:lpstr>Vision</vt:lpstr>
      <vt:lpstr>PowerPoint Presentation</vt:lpstr>
      <vt:lpstr>Computer Vision: 86 Categories</vt:lpstr>
      <vt:lpstr>Data</vt:lpstr>
      <vt:lpstr>Best Practices for Devs</vt:lpstr>
      <vt:lpstr>Demo</vt:lpstr>
      <vt:lpstr>Speech</vt:lpstr>
      <vt:lpstr>PowerPoint Presentation</vt:lpstr>
      <vt:lpstr>Demo</vt:lpstr>
      <vt:lpstr>Language</vt:lpstr>
      <vt:lpstr>PowerPoint Presentation</vt:lpstr>
      <vt:lpstr>PowerPoint Presentation</vt:lpstr>
      <vt:lpstr>PowerPoint Presentation</vt:lpstr>
      <vt:lpstr>XBOX Live Vitals</vt:lpstr>
      <vt:lpstr>Demo</vt:lpstr>
      <vt:lpstr>Language Understanding (LUIS)</vt:lpstr>
      <vt:lpstr>Demo</vt:lpstr>
      <vt:lpstr>Knowledge</vt:lpstr>
      <vt:lpstr>PowerPoint Presentation</vt:lpstr>
      <vt:lpstr>Search</vt:lpstr>
      <vt:lpstr>PowerPoint Presentation</vt:lpstr>
      <vt:lpstr>Demo</vt:lpstr>
      <vt:lpstr>PowerPoint Presentation</vt:lpstr>
      <vt:lpstr>Seeing AI</vt:lpstr>
      <vt:lpstr>PowerPoint Presentation</vt:lpstr>
      <vt:lpstr>PowerPoint Presentation</vt:lpstr>
      <vt:lpstr>PowerPoint Presentation</vt:lpstr>
      <vt:lpstr>Get started for free at microsoft.com/cognitive</vt:lpstr>
      <vt:lpstr>Thank you</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Speech title here&gt;</dc:subject>
  <dc:creator>Jennifer Marsman</dc:creator>
  <cp:keywords>AI Immersion Workshop</cp:keywords>
  <dc:description>Template: Mitchell Derrey, Silver Fox Productions_x000d_
Formatting: _x000d_
Audience Type:</dc:description>
  <cp:lastModifiedBy>Jennifer Marsman</cp:lastModifiedBy>
  <cp:revision>44</cp:revision>
  <dcterms:created xsi:type="dcterms:W3CDTF">2017-05-07T00:37:32Z</dcterms:created>
  <dcterms:modified xsi:type="dcterms:W3CDTF">2017-05-07T18:48:44Z</dcterms:modified>
  <cp:category>AI Immersion Workshop</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